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sldIdLst>
    <p:sldId id="256" r:id="rId2"/>
    <p:sldId id="312" r:id="rId3"/>
    <p:sldId id="270" r:id="rId4"/>
    <p:sldId id="306" r:id="rId5"/>
    <p:sldId id="310" r:id="rId6"/>
    <p:sldId id="311" r:id="rId7"/>
    <p:sldId id="307" r:id="rId8"/>
    <p:sldId id="309" r:id="rId9"/>
    <p:sldId id="308" r:id="rId10"/>
    <p:sldId id="305" r:id="rId11"/>
    <p:sldId id="258" r:id="rId12"/>
    <p:sldId id="268" r:id="rId13"/>
    <p:sldId id="257" r:id="rId14"/>
    <p:sldId id="271" r:id="rId15"/>
    <p:sldId id="273" r:id="rId16"/>
    <p:sldId id="275" r:id="rId17"/>
    <p:sldId id="274" r:id="rId18"/>
    <p:sldId id="276" r:id="rId19"/>
    <p:sldId id="285" r:id="rId20"/>
    <p:sldId id="303" r:id="rId21"/>
    <p:sldId id="300" r:id="rId22"/>
    <p:sldId id="302" r:id="rId23"/>
    <p:sldId id="299" r:id="rId24"/>
    <p:sldId id="304" r:id="rId25"/>
    <p:sldId id="301" r:id="rId26"/>
    <p:sldId id="298" r:id="rId27"/>
    <p:sldId id="287" r:id="rId28"/>
    <p:sldId id="281" r:id="rId29"/>
    <p:sldId id="283" r:id="rId30"/>
    <p:sldId id="284" r:id="rId31"/>
    <p:sldId id="282" r:id="rId32"/>
    <p:sldId id="288" r:id="rId33"/>
    <p:sldId id="289" r:id="rId34"/>
    <p:sldId id="290" r:id="rId35"/>
    <p:sldId id="291" r:id="rId36"/>
    <p:sldId id="295" r:id="rId37"/>
    <p:sldId id="293" r:id="rId38"/>
    <p:sldId id="294" r:id="rId39"/>
    <p:sldId id="292" r:id="rId40"/>
    <p:sldId id="296" r:id="rId41"/>
    <p:sldId id="297" r:id="rId42"/>
    <p:sldId id="277" r:id="rId43"/>
    <p:sldId id="278" r:id="rId44"/>
    <p:sldId id="279" r:id="rId45"/>
    <p:sldId id="280" r:id="rId46"/>
    <p:sldId id="269" r:id="rId47"/>
    <p:sldId id="264" r:id="rId48"/>
    <p:sldId id="266" r:id="rId49"/>
    <p:sldId id="267" r:id="rId50"/>
  </p:sldIdLst>
  <p:sldSz cx="9906000" cy="6858000" type="A4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0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9" autoAdjust="0"/>
    <p:restoredTop sz="94660"/>
  </p:normalViewPr>
  <p:slideViewPr>
    <p:cSldViewPr snapToGrid="0">
      <p:cViewPr varScale="1">
        <p:scale>
          <a:sx n="67" d="100"/>
          <a:sy n="67" d="100"/>
        </p:scale>
        <p:origin x="1090" y="4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4181877-94BF-452E-AE3E-323E50A386E3}" type="doc">
      <dgm:prSet loTypeId="urn:microsoft.com/office/officeart/2005/8/layout/funnel1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s-EC"/>
        </a:p>
      </dgm:t>
    </dgm:pt>
    <dgm:pt modelId="{929EB606-FF50-4797-B69C-EB5AF309EB53}">
      <dgm:prSet phldrT="[Text]"/>
      <dgm:spPr/>
      <dgm:t>
        <a:bodyPr/>
        <a:lstStyle/>
        <a:p>
          <a:r>
            <a:rPr lang="es-EC" dirty="0"/>
            <a:t>DIBUJO ARTÍSTICO</a:t>
          </a:r>
        </a:p>
      </dgm:t>
    </dgm:pt>
    <dgm:pt modelId="{159EAF3C-E835-476B-A0F3-EDCB9BDBD973}" type="parTrans" cxnId="{1ACFF8CB-FB2A-40B0-9E04-914DEE64CEF6}">
      <dgm:prSet/>
      <dgm:spPr/>
      <dgm:t>
        <a:bodyPr/>
        <a:lstStyle/>
        <a:p>
          <a:endParaRPr lang="es-EC"/>
        </a:p>
      </dgm:t>
    </dgm:pt>
    <dgm:pt modelId="{5EE1234A-7B6E-462A-9177-DBC2C60F7DC8}" type="sibTrans" cxnId="{1ACFF8CB-FB2A-40B0-9E04-914DEE64CEF6}">
      <dgm:prSet/>
      <dgm:spPr/>
      <dgm:t>
        <a:bodyPr/>
        <a:lstStyle/>
        <a:p>
          <a:endParaRPr lang="es-EC"/>
        </a:p>
      </dgm:t>
    </dgm:pt>
    <dgm:pt modelId="{F300A095-5894-42C0-A228-9C000C638391}">
      <dgm:prSet phldrT="[Text]"/>
      <dgm:spPr/>
      <dgm:t>
        <a:bodyPr/>
        <a:lstStyle/>
        <a:p>
          <a:r>
            <a:rPr lang="es-EC" dirty="0"/>
            <a:t>DIBUJO TÉCNICO</a:t>
          </a:r>
        </a:p>
      </dgm:t>
    </dgm:pt>
    <dgm:pt modelId="{274A7199-F8D1-4AB3-AB38-B4E0AC244CBF}" type="parTrans" cxnId="{61CE5DCB-DB37-4EB8-A2F0-03C1E4519287}">
      <dgm:prSet/>
      <dgm:spPr/>
      <dgm:t>
        <a:bodyPr/>
        <a:lstStyle/>
        <a:p>
          <a:endParaRPr lang="es-EC"/>
        </a:p>
      </dgm:t>
    </dgm:pt>
    <dgm:pt modelId="{6C8CAB3E-B458-43D2-9680-9047D82CE888}" type="sibTrans" cxnId="{61CE5DCB-DB37-4EB8-A2F0-03C1E4519287}">
      <dgm:prSet/>
      <dgm:spPr/>
      <dgm:t>
        <a:bodyPr/>
        <a:lstStyle/>
        <a:p>
          <a:endParaRPr lang="es-EC"/>
        </a:p>
      </dgm:t>
    </dgm:pt>
    <dgm:pt modelId="{C300AFDB-D612-491F-BAF0-7F1447D6457F}">
      <dgm:prSet phldrT="[Text]"/>
      <dgm:spPr/>
      <dgm:t>
        <a:bodyPr/>
        <a:lstStyle/>
        <a:p>
          <a:r>
            <a:rPr lang="es-EC" dirty="0"/>
            <a:t>DIBUJO</a:t>
          </a:r>
        </a:p>
      </dgm:t>
    </dgm:pt>
    <dgm:pt modelId="{4DEAC262-89FB-4695-86FE-D36373A1D01F}" type="parTrans" cxnId="{7968A11B-F17B-4185-BB66-B9254696AD51}">
      <dgm:prSet/>
      <dgm:spPr/>
      <dgm:t>
        <a:bodyPr/>
        <a:lstStyle/>
        <a:p>
          <a:endParaRPr lang="es-EC"/>
        </a:p>
      </dgm:t>
    </dgm:pt>
    <dgm:pt modelId="{814FF792-4D62-4EBF-A1DB-247E5FFA1A0B}" type="sibTrans" cxnId="{7968A11B-F17B-4185-BB66-B9254696AD51}">
      <dgm:prSet/>
      <dgm:spPr/>
      <dgm:t>
        <a:bodyPr/>
        <a:lstStyle/>
        <a:p>
          <a:endParaRPr lang="es-EC"/>
        </a:p>
      </dgm:t>
    </dgm:pt>
    <dgm:pt modelId="{04773E46-A457-4620-BF24-DBEECD01BFEC}" type="pres">
      <dgm:prSet presAssocID="{14181877-94BF-452E-AE3E-323E50A386E3}" presName="Name0" presStyleCnt="0">
        <dgm:presLayoutVars>
          <dgm:chMax val="4"/>
          <dgm:resizeHandles val="exact"/>
        </dgm:presLayoutVars>
      </dgm:prSet>
      <dgm:spPr/>
    </dgm:pt>
    <dgm:pt modelId="{1466B71A-0530-4DE0-A1A3-79709CD3DA50}" type="pres">
      <dgm:prSet presAssocID="{14181877-94BF-452E-AE3E-323E50A386E3}" presName="ellipse" presStyleLbl="trBgShp" presStyleIdx="0" presStyleCnt="1"/>
      <dgm:spPr/>
    </dgm:pt>
    <dgm:pt modelId="{E194914B-C751-4B6E-A2AE-651219E5E1EB}" type="pres">
      <dgm:prSet presAssocID="{14181877-94BF-452E-AE3E-323E50A386E3}" presName="arrow1" presStyleLbl="fgShp" presStyleIdx="0" presStyleCnt="1"/>
      <dgm:spPr/>
    </dgm:pt>
    <dgm:pt modelId="{696178EE-98C0-4557-B80B-B5B4D1A62752}" type="pres">
      <dgm:prSet presAssocID="{14181877-94BF-452E-AE3E-323E50A386E3}" presName="rectangle" presStyleLbl="revTx" presStyleIdx="0" presStyleCnt="1">
        <dgm:presLayoutVars>
          <dgm:bulletEnabled val="1"/>
        </dgm:presLayoutVars>
      </dgm:prSet>
      <dgm:spPr/>
    </dgm:pt>
    <dgm:pt modelId="{8E4F8BDA-05F6-499C-BCA7-113E0A5548EC}" type="pres">
      <dgm:prSet presAssocID="{F300A095-5894-42C0-A228-9C000C638391}" presName="item1" presStyleLbl="node1" presStyleIdx="0" presStyleCnt="2">
        <dgm:presLayoutVars>
          <dgm:bulletEnabled val="1"/>
        </dgm:presLayoutVars>
      </dgm:prSet>
      <dgm:spPr/>
    </dgm:pt>
    <dgm:pt modelId="{D5581B72-DC28-4BBB-8EF7-5DD992898EDD}" type="pres">
      <dgm:prSet presAssocID="{C300AFDB-D612-491F-BAF0-7F1447D6457F}" presName="item2" presStyleLbl="node1" presStyleIdx="1" presStyleCnt="2">
        <dgm:presLayoutVars>
          <dgm:bulletEnabled val="1"/>
        </dgm:presLayoutVars>
      </dgm:prSet>
      <dgm:spPr/>
    </dgm:pt>
    <dgm:pt modelId="{3B8D24E0-681A-4A3C-87E4-E4B8E1B7210D}" type="pres">
      <dgm:prSet presAssocID="{14181877-94BF-452E-AE3E-323E50A386E3}" presName="funnel" presStyleLbl="trAlignAcc1" presStyleIdx="0" presStyleCnt="1"/>
      <dgm:spPr/>
    </dgm:pt>
  </dgm:ptLst>
  <dgm:cxnLst>
    <dgm:cxn modelId="{7968A11B-F17B-4185-BB66-B9254696AD51}" srcId="{14181877-94BF-452E-AE3E-323E50A386E3}" destId="{C300AFDB-D612-491F-BAF0-7F1447D6457F}" srcOrd="2" destOrd="0" parTransId="{4DEAC262-89FB-4695-86FE-D36373A1D01F}" sibTransId="{814FF792-4D62-4EBF-A1DB-247E5FFA1A0B}"/>
    <dgm:cxn modelId="{75EE1448-8BAA-4D48-949E-8E976977DD4F}" type="presOf" srcId="{C300AFDB-D612-491F-BAF0-7F1447D6457F}" destId="{696178EE-98C0-4557-B80B-B5B4D1A62752}" srcOrd="0" destOrd="0" presId="urn:microsoft.com/office/officeart/2005/8/layout/funnel1"/>
    <dgm:cxn modelId="{AB7D918E-4173-499B-949E-E4AEB235E396}" type="presOf" srcId="{F300A095-5894-42C0-A228-9C000C638391}" destId="{8E4F8BDA-05F6-499C-BCA7-113E0A5548EC}" srcOrd="0" destOrd="0" presId="urn:microsoft.com/office/officeart/2005/8/layout/funnel1"/>
    <dgm:cxn modelId="{38F3488F-5FD8-4081-96F7-F7C456468E0D}" type="presOf" srcId="{929EB606-FF50-4797-B69C-EB5AF309EB53}" destId="{D5581B72-DC28-4BBB-8EF7-5DD992898EDD}" srcOrd="0" destOrd="0" presId="urn:microsoft.com/office/officeart/2005/8/layout/funnel1"/>
    <dgm:cxn modelId="{61CE5DCB-DB37-4EB8-A2F0-03C1E4519287}" srcId="{14181877-94BF-452E-AE3E-323E50A386E3}" destId="{F300A095-5894-42C0-A228-9C000C638391}" srcOrd="1" destOrd="0" parTransId="{274A7199-F8D1-4AB3-AB38-B4E0AC244CBF}" sibTransId="{6C8CAB3E-B458-43D2-9680-9047D82CE888}"/>
    <dgm:cxn modelId="{1ACFF8CB-FB2A-40B0-9E04-914DEE64CEF6}" srcId="{14181877-94BF-452E-AE3E-323E50A386E3}" destId="{929EB606-FF50-4797-B69C-EB5AF309EB53}" srcOrd="0" destOrd="0" parTransId="{159EAF3C-E835-476B-A0F3-EDCB9BDBD973}" sibTransId="{5EE1234A-7B6E-462A-9177-DBC2C60F7DC8}"/>
    <dgm:cxn modelId="{57067CE0-D3E1-4A58-9E23-85009118AC84}" type="presOf" srcId="{14181877-94BF-452E-AE3E-323E50A386E3}" destId="{04773E46-A457-4620-BF24-DBEECD01BFEC}" srcOrd="0" destOrd="0" presId="urn:microsoft.com/office/officeart/2005/8/layout/funnel1"/>
    <dgm:cxn modelId="{AF3EC506-5302-4D76-9786-4407D2552DED}" type="presParOf" srcId="{04773E46-A457-4620-BF24-DBEECD01BFEC}" destId="{1466B71A-0530-4DE0-A1A3-79709CD3DA50}" srcOrd="0" destOrd="0" presId="urn:microsoft.com/office/officeart/2005/8/layout/funnel1"/>
    <dgm:cxn modelId="{EB63A237-F661-459E-A2E3-907185A1308D}" type="presParOf" srcId="{04773E46-A457-4620-BF24-DBEECD01BFEC}" destId="{E194914B-C751-4B6E-A2AE-651219E5E1EB}" srcOrd="1" destOrd="0" presId="urn:microsoft.com/office/officeart/2005/8/layout/funnel1"/>
    <dgm:cxn modelId="{F154E14C-5479-4CD2-8743-4DCAABADE638}" type="presParOf" srcId="{04773E46-A457-4620-BF24-DBEECD01BFEC}" destId="{696178EE-98C0-4557-B80B-B5B4D1A62752}" srcOrd="2" destOrd="0" presId="urn:microsoft.com/office/officeart/2005/8/layout/funnel1"/>
    <dgm:cxn modelId="{D1BA6B5C-521E-43C9-AA7D-76CCCF32CC91}" type="presParOf" srcId="{04773E46-A457-4620-BF24-DBEECD01BFEC}" destId="{8E4F8BDA-05F6-499C-BCA7-113E0A5548EC}" srcOrd="3" destOrd="0" presId="urn:microsoft.com/office/officeart/2005/8/layout/funnel1"/>
    <dgm:cxn modelId="{E72937C1-AB71-41AA-8EE1-C949C6C05892}" type="presParOf" srcId="{04773E46-A457-4620-BF24-DBEECD01BFEC}" destId="{D5581B72-DC28-4BBB-8EF7-5DD992898EDD}" srcOrd="4" destOrd="0" presId="urn:microsoft.com/office/officeart/2005/8/layout/funnel1"/>
    <dgm:cxn modelId="{A3FA3BF8-DA0E-43A9-BE4A-53093D32E67B}" type="presParOf" srcId="{04773E46-A457-4620-BF24-DBEECD01BFEC}" destId="{3B8D24E0-681A-4A3C-87E4-E4B8E1B7210D}" srcOrd="5" destOrd="0" presId="urn:microsoft.com/office/officeart/2005/8/layout/funnel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66B71A-0530-4DE0-A1A3-79709CD3DA50}">
      <dsp:nvSpPr>
        <dsp:cNvPr id="0" name=""/>
        <dsp:cNvSpPr/>
      </dsp:nvSpPr>
      <dsp:spPr>
        <a:xfrm>
          <a:off x="1521671" y="178858"/>
          <a:ext cx="3549650" cy="1232746"/>
        </a:xfrm>
        <a:prstGeom prst="ellipse">
          <a:avLst/>
        </a:prstGeom>
        <a:solidFill>
          <a:schemeClr val="accent5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194914B-C751-4B6E-A2AE-651219E5E1EB}">
      <dsp:nvSpPr>
        <dsp:cNvPr id="0" name=""/>
        <dsp:cNvSpPr/>
      </dsp:nvSpPr>
      <dsp:spPr>
        <a:xfrm>
          <a:off x="2958041" y="3197436"/>
          <a:ext cx="687916" cy="440266"/>
        </a:xfrm>
        <a:prstGeom prst="downArrow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96178EE-98C0-4557-B80B-B5B4D1A62752}">
      <dsp:nvSpPr>
        <dsp:cNvPr id="0" name=""/>
        <dsp:cNvSpPr/>
      </dsp:nvSpPr>
      <dsp:spPr>
        <a:xfrm>
          <a:off x="1650999" y="3549650"/>
          <a:ext cx="3302000" cy="8255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C" sz="2900" kern="1200" dirty="0"/>
            <a:t>DIBUJO</a:t>
          </a:r>
        </a:p>
      </dsp:txBody>
      <dsp:txXfrm>
        <a:off x="1650999" y="3549650"/>
        <a:ext cx="3302000" cy="825500"/>
      </dsp:txXfrm>
    </dsp:sp>
    <dsp:sp modelId="{8E4F8BDA-05F6-499C-BCA7-113E0A5548EC}">
      <dsp:nvSpPr>
        <dsp:cNvPr id="0" name=""/>
        <dsp:cNvSpPr/>
      </dsp:nvSpPr>
      <dsp:spPr>
        <a:xfrm>
          <a:off x="2812203" y="1506812"/>
          <a:ext cx="1238250" cy="1238250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C" sz="1500" kern="1200" dirty="0"/>
            <a:t>DIBUJO TÉCNICO</a:t>
          </a:r>
        </a:p>
      </dsp:txBody>
      <dsp:txXfrm>
        <a:off x="2993541" y="1688150"/>
        <a:ext cx="875574" cy="875574"/>
      </dsp:txXfrm>
    </dsp:sp>
    <dsp:sp modelId="{D5581B72-DC28-4BBB-8EF7-5DD992898EDD}">
      <dsp:nvSpPr>
        <dsp:cNvPr id="0" name=""/>
        <dsp:cNvSpPr/>
      </dsp:nvSpPr>
      <dsp:spPr>
        <a:xfrm>
          <a:off x="1926166" y="577850"/>
          <a:ext cx="1238250" cy="1238250"/>
        </a:xfrm>
        <a:prstGeom prst="ellipse">
          <a:avLst/>
        </a:prstGeom>
        <a:solidFill>
          <a:schemeClr val="accent5">
            <a:hueOff val="-6758543"/>
            <a:satOff val="-17419"/>
            <a:lumOff val="-1176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C" sz="1500" kern="1200" dirty="0"/>
            <a:t>DIBUJO ARTÍSTICO</a:t>
          </a:r>
        </a:p>
      </dsp:txBody>
      <dsp:txXfrm>
        <a:off x="2107504" y="759188"/>
        <a:ext cx="875574" cy="875574"/>
      </dsp:txXfrm>
    </dsp:sp>
    <dsp:sp modelId="{3B8D24E0-681A-4A3C-87E4-E4B8E1B7210D}">
      <dsp:nvSpPr>
        <dsp:cNvPr id="0" name=""/>
        <dsp:cNvSpPr/>
      </dsp:nvSpPr>
      <dsp:spPr>
        <a:xfrm>
          <a:off x="1375833" y="27516"/>
          <a:ext cx="3852333" cy="3081866"/>
        </a:xfrm>
        <a:prstGeom prst="funnel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funnel1">
  <dgm:title val=""/>
  <dgm:desc val=""/>
  <dgm:catLst>
    <dgm:cat type="relationship" pri="2000"/>
    <dgm:cat type="process" pri="2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4"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1">
      <dgm:if name="Name2" axis="ch" ptType="node" func="cnt" op="equ" val="2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w" for="ch" forName="item1" refType="w" fact="0.35"/>
          <dgm:constr type="h" for="ch" forName="item1" refType="w" fact="0.35"/>
          <dgm:constr type="t" for="ch" forName="item1" refType="h" fact="0.05"/>
          <dgm:constr type="l" for="ch" forName="item1" refType="w" fact="0.125"/>
          <dgm:constr type="primFontSz" for="ch" forName="item1" op="equ" val="65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if>
      <dgm:else name="Name3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primFontSz" for="ch" forName="rectangle" val="65"/>
          <dgm:constr type="w" for="ch" forName="item1" refType="w" fact="0.225"/>
          <dgm:constr type="h" for="ch" forName="item1" refType="w" fact="0.225"/>
          <dgm:constr type="t" for="ch" forName="item1" refType="h" fact="0.336"/>
          <dgm:constr type="l" for="ch" forName="item1" refType="w" fact="0.261"/>
          <dgm:constr type="primFontSz" for="ch" forName="item1" val="65"/>
          <dgm:constr type="w" for="ch" forName="item2" refType="w" fact="0.225"/>
          <dgm:constr type="h" for="ch" forName="item2" refType="w" fact="0.225"/>
          <dgm:constr type="t" for="ch" forName="item2" refType="h" fact="0.125"/>
          <dgm:constr type="l" for="ch" forName="item2" refType="w" fact="0.1"/>
          <dgm:constr type="primFontSz" for="ch" forName="item2" refType="primFontSz" refFor="ch" refForName="item1" op="equ"/>
          <dgm:constr type="w" for="ch" forName="item3" refType="w" fact="0.225"/>
          <dgm:constr type="h" for="ch" forName="item3" refType="w" fact="0.225"/>
          <dgm:constr type="t" for="ch" forName="item3" refType="h" fact="0.057"/>
          <dgm:constr type="l" for="ch" forName="item3" refType="w" fact="0.33"/>
          <dgm:constr type="primFontSz" for="ch" forName="item3" refType="primFontSz" refFor="ch" refForName="item1" op="equ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else>
    </dgm:choose>
    <dgm:ruleLst/>
    <dgm:choose name="Name4">
      <dgm:if name="Name5" axis="ch" ptType="node" func="cnt" op="gte" val="1">
        <dgm:layoutNode name="ellipse" styleLbl="tr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arrow1" styleLbl="fgShp">
          <dgm:alg type="sp"/>
          <dgm:shape xmlns:r="http://schemas.openxmlformats.org/officeDocument/2006/relationships" type="downArrow" r:blip="">
            <dgm:adjLst/>
          </dgm:shape>
          <dgm:presOf/>
          <dgm:constrLst/>
          <dgm:ruleLst/>
        </dgm:layoutNode>
        <dgm:layoutNode name="rectangle" styleLbl="revTx">
          <dgm:varLst>
            <dgm:bulletEnabled val="1"/>
          </dgm:varLst>
          <dgm:alg type="tx">
            <dgm:param type="txAnchorHorzCh" val="ctr"/>
          </dgm:alg>
          <dgm:shape xmlns:r="http://schemas.openxmlformats.org/officeDocument/2006/relationships" type="rect" r:blip="">
            <dgm:adjLst/>
          </dgm:shape>
          <dgm:choose name="Name6">
            <dgm:if name="Name7" axis="ch" ptType="node" func="cnt" op="equ" val="1">
              <dgm:presOf axis="ch desOrSelf" ptType="node node" st="1 1" cnt="1 0"/>
            </dgm:if>
            <dgm:if name="Name8" axis="ch" ptType="node" func="cnt" op="equ" val="2">
              <dgm:presOf axis="ch desOrSelf" ptType="node node" st="2 1" cnt="1 0"/>
            </dgm:if>
            <dgm:if name="Name9" axis="ch" ptType="node" func="cnt" op="equ" val="3">
              <dgm:presOf axis="ch desOrSelf" ptType="node node" st="3 1" cnt="1 0"/>
            </dgm:if>
            <dgm:else name="Name10">
              <dgm:presOf axis="ch desOrSelf" ptType="node node" st="4 1" cnt="1 0"/>
            </dgm:else>
          </dgm:choose>
          <dgm:constrLst/>
          <dgm:ruleLst>
            <dgm:rule type="primFontSz" val="5" fact="NaN" max="NaN"/>
          </dgm:ruleLst>
        </dgm:layoutNode>
        <dgm:forEach name="Name11" axis="ch" ptType="node" st="2" cnt="1">
          <dgm:layoutNode name="item1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2">
              <dgm:if name="Name13" axis="root ch" ptType="all node" func="cnt" op="equ" val="1">
                <dgm:presOf/>
              </dgm:if>
              <dgm:if name="Name14" axis="root ch" ptType="all node" func="cnt" op="equ" val="2">
                <dgm:presOf axis="root ch desOrSelf" ptType="all node node" st="1 1 1" cnt="0 1 0"/>
              </dgm:if>
              <dgm:if name="Name15" axis="root ch" ptType="all node" func="cnt" op="equ" val="3">
                <dgm:presOf axis="root ch desOrSelf" ptType="all node node" st="1 2 1" cnt="0 1 0"/>
              </dgm:if>
              <dgm:else name="Name16">
                <dgm:presOf axis="root ch desOrSelf" ptType="all node node" st="1 3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17" axis="ch" ptType="node" st="3" cnt="1">
          <dgm:layoutNode name="item2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8">
              <dgm:if name="Name19" axis="root ch" ptType="all node" func="cnt" op="equ" val="1">
                <dgm:presOf/>
              </dgm:if>
              <dgm:if name="Name20" axis="root ch" ptType="all node" func="cnt" op="equ" val="2">
                <dgm:presOf/>
              </dgm:if>
              <dgm:if name="Name21" axis="root ch" ptType="all node" func="cnt" op="equ" val="3">
                <dgm:presOf axis="root ch desOrSelf" ptType="all node node" st="1 1 1" cnt="0 1 0"/>
              </dgm:if>
              <dgm:else name="Name22">
                <dgm:presOf axis="root ch desOrSelf" ptType="all node node" st="1 2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23" axis="ch" ptType="node" st="4" cnt="1">
          <dgm:layoutNode name="item3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4">
              <dgm:if name="Name25" axis="root ch" ptType="all node" func="cnt" op="equ" val="1">
                <dgm:presOf/>
              </dgm:if>
              <dgm:if name="Name26" axis="root ch" ptType="all node" func="cnt" op="equ" val="2">
                <dgm:presOf/>
              </dgm:if>
              <dgm:if name="Name27" axis="root ch" ptType="all node" func="cnt" op="equ" val="3">
                <dgm:presOf/>
              </dgm:if>
              <dgm:else name="Name28">
                <dgm:presOf axis="root ch desOrSelf" ptType="all node node" st="1 1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layoutNode name="funnel" styleLbl="trAlignAcc1">
          <dgm:alg type="sp"/>
          <dgm:shape xmlns:r="http://schemas.openxmlformats.org/officeDocument/2006/relationships" type="funnel" r:blip="">
            <dgm:adjLst/>
          </dgm:shape>
          <dgm:presOf/>
          <dgm:constrLst/>
          <dgm:ruleLst/>
        </dgm:layoutNode>
      </dgm:if>
      <dgm:else name="Name29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9E628-88B5-4675-AD58-1813EE2922D7}" type="datetimeFigureOut">
              <a:rPr lang="es-EC" smtClean="0"/>
              <a:t>2023/06/26</a:t>
            </a:fld>
            <a:endParaRPr lang="es-EC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37AB1-3B3E-4AF0-8D92-BCDAC2B245EE}" type="slidenum">
              <a:rPr lang="es-EC" smtClean="0"/>
              <a:t>‹#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1162686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9E628-88B5-4675-AD58-1813EE2922D7}" type="datetimeFigureOut">
              <a:rPr lang="es-EC" smtClean="0"/>
              <a:t>2023/06/26</a:t>
            </a:fld>
            <a:endParaRPr lang="es-EC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37AB1-3B3E-4AF0-8D92-BCDAC2B245EE}" type="slidenum">
              <a:rPr lang="es-EC" smtClean="0"/>
              <a:t>‹#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147335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9E628-88B5-4675-AD58-1813EE2922D7}" type="datetimeFigureOut">
              <a:rPr lang="es-EC" smtClean="0"/>
              <a:t>2023/06/26</a:t>
            </a:fld>
            <a:endParaRPr lang="es-EC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37AB1-3B3E-4AF0-8D92-BCDAC2B245EE}" type="slidenum">
              <a:rPr lang="es-EC" smtClean="0"/>
              <a:t>‹#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6493495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9E628-88B5-4675-AD58-1813EE2922D7}" type="datetimeFigureOut">
              <a:rPr lang="es-EC" smtClean="0"/>
              <a:t>2023/06/26</a:t>
            </a:fld>
            <a:endParaRPr lang="es-EC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37AB1-3B3E-4AF0-8D92-BCDAC2B245EE}" type="slidenum">
              <a:rPr lang="es-EC" smtClean="0"/>
              <a:t>‹#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27794897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9E628-88B5-4675-AD58-1813EE2922D7}" type="datetimeFigureOut">
              <a:rPr lang="es-EC" smtClean="0"/>
              <a:t>2023/06/26</a:t>
            </a:fld>
            <a:endParaRPr lang="es-EC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37AB1-3B3E-4AF0-8D92-BCDAC2B245EE}" type="slidenum">
              <a:rPr lang="es-EC" smtClean="0"/>
              <a:t>‹#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20075223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9E628-88B5-4675-AD58-1813EE2922D7}" type="datetimeFigureOut">
              <a:rPr lang="es-EC" smtClean="0"/>
              <a:t>2023/06/26</a:t>
            </a:fld>
            <a:endParaRPr lang="es-EC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37AB1-3B3E-4AF0-8D92-BCDAC2B245EE}" type="slidenum">
              <a:rPr lang="es-EC" smtClean="0"/>
              <a:t>‹#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14082527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9E628-88B5-4675-AD58-1813EE2922D7}" type="datetimeFigureOut">
              <a:rPr lang="es-EC" smtClean="0"/>
              <a:t>2023/06/26</a:t>
            </a:fld>
            <a:endParaRPr lang="es-EC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37AB1-3B3E-4AF0-8D92-BCDAC2B245EE}" type="slidenum">
              <a:rPr lang="es-EC" smtClean="0"/>
              <a:t>‹#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17164948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9E628-88B5-4675-AD58-1813EE2922D7}" type="datetimeFigureOut">
              <a:rPr lang="es-EC" smtClean="0"/>
              <a:t>2023/06/26</a:t>
            </a:fld>
            <a:endParaRPr lang="es-EC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37AB1-3B3E-4AF0-8D92-BCDAC2B245EE}" type="slidenum">
              <a:rPr lang="es-EC" smtClean="0"/>
              <a:t>‹#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24440929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9E628-88B5-4675-AD58-1813EE2922D7}" type="datetimeFigureOut">
              <a:rPr lang="es-EC" smtClean="0"/>
              <a:t>2023/06/26</a:t>
            </a:fld>
            <a:endParaRPr lang="es-EC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37AB1-3B3E-4AF0-8D92-BCDAC2B245EE}" type="slidenum">
              <a:rPr lang="es-EC" smtClean="0"/>
              <a:t>‹#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29148364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9E628-88B5-4675-AD58-1813EE2922D7}" type="datetimeFigureOut">
              <a:rPr lang="es-EC" smtClean="0"/>
              <a:t>2023/06/26</a:t>
            </a:fld>
            <a:endParaRPr lang="es-EC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37AB1-3B3E-4AF0-8D92-BCDAC2B245EE}" type="slidenum">
              <a:rPr lang="es-EC" smtClean="0"/>
              <a:t>‹#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31655757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9E628-88B5-4675-AD58-1813EE2922D7}" type="datetimeFigureOut">
              <a:rPr lang="es-EC" smtClean="0"/>
              <a:t>2023/06/26</a:t>
            </a:fld>
            <a:endParaRPr lang="es-EC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37AB1-3B3E-4AF0-8D92-BCDAC2B245EE}" type="slidenum">
              <a:rPr lang="es-EC" smtClean="0"/>
              <a:t>‹#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34032169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E9E628-88B5-4675-AD58-1813EE2922D7}" type="datetimeFigureOut">
              <a:rPr lang="es-EC" smtClean="0"/>
              <a:t>2023/06/26</a:t>
            </a:fld>
            <a:endParaRPr lang="es-EC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C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C37AB1-3B3E-4AF0-8D92-BCDAC2B245EE}" type="slidenum">
              <a:rPr lang="es-EC" smtClean="0"/>
              <a:t>‹#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2164702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.xml"/><Relationship Id="rId1" Type="http://schemas.openxmlformats.org/officeDocument/2006/relationships/video" Target="https://www.youtube.com/embed/gCTalQvVmeA?feature=oembed" TargetMode="External"/><Relationship Id="rId6" Type="http://schemas.openxmlformats.org/officeDocument/2006/relationships/image" Target="../media/image15.jpeg"/><Relationship Id="rId5" Type="http://schemas.openxmlformats.org/officeDocument/2006/relationships/image" Target="../media/image14.png"/><Relationship Id="rId4" Type="http://schemas.openxmlformats.org/officeDocument/2006/relationships/image" Target="../media/image3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7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image" Target="../media/image29.png"/><Relationship Id="rId7" Type="http://schemas.openxmlformats.org/officeDocument/2006/relationships/image" Target="../media/image33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.jpeg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4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7" Type="http://schemas.openxmlformats.org/officeDocument/2006/relationships/image" Target="../media/image40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9.jpe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7" Type="http://schemas.openxmlformats.org/officeDocument/2006/relationships/image" Target="../media/image45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4.jpeg"/><Relationship Id="rId5" Type="http://schemas.openxmlformats.org/officeDocument/2006/relationships/image" Target="../media/image43.png"/><Relationship Id="rId4" Type="http://schemas.openxmlformats.org/officeDocument/2006/relationships/image" Target="../media/image42.jpe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eg"/><Relationship Id="rId3" Type="http://schemas.openxmlformats.org/officeDocument/2006/relationships/image" Target="../media/image47.jpeg"/><Relationship Id="rId7" Type="http://schemas.openxmlformats.org/officeDocument/2006/relationships/image" Target="../media/image51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0.jpeg"/><Relationship Id="rId5" Type="http://schemas.openxmlformats.org/officeDocument/2006/relationships/image" Target="../media/image49.jpeg"/><Relationship Id="rId4" Type="http://schemas.openxmlformats.org/officeDocument/2006/relationships/image" Target="../media/image48.jpeg"/><Relationship Id="rId9" Type="http://schemas.openxmlformats.org/officeDocument/2006/relationships/image" Target="../media/image53.jpe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jpeg"/><Relationship Id="rId3" Type="http://schemas.openxmlformats.org/officeDocument/2006/relationships/image" Target="../media/image54.jpeg"/><Relationship Id="rId7" Type="http://schemas.openxmlformats.org/officeDocument/2006/relationships/image" Target="../media/image58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7.jpeg"/><Relationship Id="rId5" Type="http://schemas.openxmlformats.org/officeDocument/2006/relationships/image" Target="../media/image56.jpeg"/><Relationship Id="rId4" Type="http://schemas.openxmlformats.org/officeDocument/2006/relationships/image" Target="../media/image5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7" Type="http://schemas.openxmlformats.org/officeDocument/2006/relationships/image" Target="../media/image6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3.jpeg"/><Relationship Id="rId5" Type="http://schemas.openxmlformats.org/officeDocument/2006/relationships/image" Target="../media/image62.jpeg"/><Relationship Id="rId4" Type="http://schemas.openxmlformats.org/officeDocument/2006/relationships/image" Target="../media/image61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video" Target="https://www.youtube.com/embed/LxNAK7nDa9E?feature=oembed" TargetMode="External"/><Relationship Id="rId6" Type="http://schemas.openxmlformats.org/officeDocument/2006/relationships/image" Target="../media/image69.jpeg"/><Relationship Id="rId5" Type="http://schemas.openxmlformats.org/officeDocument/2006/relationships/image" Target="../media/image14.png"/><Relationship Id="rId4" Type="http://schemas.openxmlformats.org/officeDocument/2006/relationships/image" Target="../media/image3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F3C958D-8E3B-97D4-859D-CED78FA57F9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4768" y="4185331"/>
            <a:ext cx="2727668" cy="2699336"/>
          </a:xfrm>
          <a:prstGeom prst="rect">
            <a:avLst/>
          </a:prstGeom>
        </p:spPr>
      </p:pic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793" y="-15264"/>
            <a:ext cx="6310410" cy="21692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475430" y="2012595"/>
            <a:ext cx="94305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400" b="1" dirty="0">
                <a:solidFill>
                  <a:srgbClr val="004083"/>
                </a:solidFill>
              </a:rPr>
              <a:t>COORDINACIÓN DE ADMISIÓN Y NIVELACIÓ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21482A6-E57A-1DA2-FF9F-2F6B839139BB}"/>
              </a:ext>
            </a:extLst>
          </p:cNvPr>
          <p:cNvSpPr txBox="1"/>
          <p:nvPr/>
        </p:nvSpPr>
        <p:spPr>
          <a:xfrm>
            <a:off x="115211" y="2401019"/>
            <a:ext cx="99336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b="1" dirty="0">
                <a:solidFill>
                  <a:srgbClr val="004083"/>
                </a:solidFill>
              </a:rPr>
              <a:t>CIENCIAS, INGENIERÍAS, INDUSTRIA y CONSTRUCCIÓN - DIBUJO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BA1A653-FFEC-9479-0C42-4FF18F434DF5}"/>
              </a:ext>
            </a:extLst>
          </p:cNvPr>
          <p:cNvSpPr txBox="1"/>
          <p:nvPr/>
        </p:nvSpPr>
        <p:spPr>
          <a:xfrm>
            <a:off x="1996324" y="5211833"/>
            <a:ext cx="65122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b="1" dirty="0">
                <a:solidFill>
                  <a:srgbClr val="004083"/>
                </a:solidFill>
              </a:rPr>
              <a:t>PERÍODO 2023-1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9ADEE55-D330-C6B7-3DCD-31B4074DDB5C}"/>
              </a:ext>
            </a:extLst>
          </p:cNvPr>
          <p:cNvSpPr txBox="1"/>
          <p:nvPr/>
        </p:nvSpPr>
        <p:spPr>
          <a:xfrm>
            <a:off x="380181" y="3403796"/>
            <a:ext cx="95712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000" b="1" dirty="0">
                <a:solidFill>
                  <a:srgbClr val="004083"/>
                </a:solidFill>
              </a:rPr>
              <a:t>ASIGNATURA: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D970FA-9269-2CED-F00F-5A715DF2FD6A}"/>
              </a:ext>
            </a:extLst>
          </p:cNvPr>
          <p:cNvSpPr txBox="1"/>
          <p:nvPr/>
        </p:nvSpPr>
        <p:spPr>
          <a:xfrm>
            <a:off x="380180" y="3783538"/>
            <a:ext cx="957121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4000" b="1" dirty="0">
                <a:solidFill>
                  <a:srgbClr val="004083"/>
                </a:solidFill>
              </a:rPr>
              <a:t>DIBUJO</a:t>
            </a:r>
            <a:r>
              <a:rPr lang="es-MX" sz="1600" b="1" dirty="0">
                <a:solidFill>
                  <a:srgbClr val="004083"/>
                </a:solidFill>
              </a:rPr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92FF600-72F5-DC25-526C-055F8F28C0F0}"/>
              </a:ext>
            </a:extLst>
          </p:cNvPr>
          <p:cNvSpPr txBox="1"/>
          <p:nvPr/>
        </p:nvSpPr>
        <p:spPr>
          <a:xfrm>
            <a:off x="2170529" y="4337836"/>
            <a:ext cx="599051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800" b="1" dirty="0">
                <a:solidFill>
                  <a:srgbClr val="004083"/>
                </a:solidFill>
              </a:rPr>
              <a:t>PARALELO </a:t>
            </a:r>
            <a:r>
              <a:rPr lang="es-MX" sz="4000" b="1" dirty="0">
                <a:solidFill>
                  <a:srgbClr val="004083"/>
                </a:solidFill>
              </a:rPr>
              <a:t>C</a:t>
            </a:r>
            <a:r>
              <a:rPr lang="es-MX" sz="1200" b="1" dirty="0">
                <a:solidFill>
                  <a:srgbClr val="004083"/>
                </a:solidFill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166886D-5651-A75B-0CE4-942F73F118D5}"/>
              </a:ext>
            </a:extLst>
          </p:cNvPr>
          <p:cNvSpPr txBox="1"/>
          <p:nvPr/>
        </p:nvSpPr>
        <p:spPr>
          <a:xfrm>
            <a:off x="33338" y="2784305"/>
            <a:ext cx="100561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3200" b="1" dirty="0">
                <a:solidFill>
                  <a:srgbClr val="004083"/>
                </a:solidFill>
              </a:rPr>
              <a:t>INGENIERÍA CIVIL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D77AF34-E657-2AD2-4806-6D786BE22FC7}"/>
              </a:ext>
            </a:extLst>
          </p:cNvPr>
          <p:cNvSpPr txBox="1"/>
          <p:nvPr/>
        </p:nvSpPr>
        <p:spPr>
          <a:xfrm>
            <a:off x="1996324" y="6048250"/>
            <a:ext cx="65122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b="1" dirty="0">
                <a:solidFill>
                  <a:srgbClr val="004083"/>
                </a:solidFill>
              </a:rPr>
              <a:t>JUNIO – SEPTIEMBRE 2023</a:t>
            </a:r>
          </a:p>
        </p:txBody>
      </p:sp>
    </p:spTree>
    <p:extLst>
      <p:ext uri="{BB962C8B-B14F-4D97-AF65-F5344CB8AC3E}">
        <p14:creationId xmlns:p14="http://schemas.microsoft.com/office/powerpoint/2010/main" val="9997441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8" name="Rectangle 1032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sp>
        <p:nvSpPr>
          <p:cNvPr id="1060" name="Rectangle 1034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93163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1F49CE81-B2F4-47B2-9D4A-886DCE0A8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65848" y="73152"/>
            <a:ext cx="957911" cy="232963"/>
            <a:chOff x="7763256" y="73152"/>
            <a:chExt cx="1178966" cy="232963"/>
          </a:xfrm>
        </p:grpSpPr>
        <p:sp>
          <p:nvSpPr>
            <p:cNvPr id="1038" name="Rectangle 64">
              <a:extLst>
                <a:ext uri="{FF2B5EF4-FFF2-40B4-BE49-F238E27FC236}">
                  <a16:creationId xmlns:a16="http://schemas.microsoft.com/office/drawing/2014/main" id="{4BE32177-3EAD-42DA-997C-8DAE1BFEE5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tangle 66">
              <a:extLst>
                <a:ext uri="{FF2B5EF4-FFF2-40B4-BE49-F238E27FC236}">
                  <a16:creationId xmlns:a16="http://schemas.microsoft.com/office/drawing/2014/main" id="{A0DEE160-9825-4DB5-8188-911AC13EA7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tangle 64">
              <a:extLst>
                <a:ext uri="{FF2B5EF4-FFF2-40B4-BE49-F238E27FC236}">
                  <a16:creationId xmlns:a16="http://schemas.microsoft.com/office/drawing/2014/main" id="{9C5FEDB5-0AEE-40E4-9CA6-6718B956D9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tangle 66">
              <a:extLst>
                <a:ext uri="{FF2B5EF4-FFF2-40B4-BE49-F238E27FC236}">
                  <a16:creationId xmlns:a16="http://schemas.microsoft.com/office/drawing/2014/main" id="{1A11DF2D-1D4B-45DA-906B-2A1F84C99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tangle 64">
              <a:extLst>
                <a:ext uri="{FF2B5EF4-FFF2-40B4-BE49-F238E27FC236}">
                  <a16:creationId xmlns:a16="http://schemas.microsoft.com/office/drawing/2014/main" id="{B6A5BAC0-9806-4124-A584-7F924A6589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tangle 66">
              <a:extLst>
                <a:ext uri="{FF2B5EF4-FFF2-40B4-BE49-F238E27FC236}">
                  <a16:creationId xmlns:a16="http://schemas.microsoft.com/office/drawing/2014/main" id="{A8F6BFA3-38BE-4F0A-94D9-EF0E6EA01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tangle 64">
              <a:extLst>
                <a:ext uri="{FF2B5EF4-FFF2-40B4-BE49-F238E27FC236}">
                  <a16:creationId xmlns:a16="http://schemas.microsoft.com/office/drawing/2014/main" id="{BE6BCF21-959F-419E-BCA4-B20AF92EF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tangle 66">
              <a:extLst>
                <a:ext uri="{FF2B5EF4-FFF2-40B4-BE49-F238E27FC236}">
                  <a16:creationId xmlns:a16="http://schemas.microsoft.com/office/drawing/2014/main" id="{54B6E037-E222-42EB-9AEB-C45EF2090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tangle 64">
              <a:extLst>
                <a:ext uri="{FF2B5EF4-FFF2-40B4-BE49-F238E27FC236}">
                  <a16:creationId xmlns:a16="http://schemas.microsoft.com/office/drawing/2014/main" id="{A0494426-372E-42B8-87E1-170F1B5969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tangle 66">
              <a:extLst>
                <a:ext uri="{FF2B5EF4-FFF2-40B4-BE49-F238E27FC236}">
                  <a16:creationId xmlns:a16="http://schemas.microsoft.com/office/drawing/2014/main" id="{14DB5AB5-5D73-4375-8CF4-DF4B7A5D7F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tangle 64">
              <a:extLst>
                <a:ext uri="{FF2B5EF4-FFF2-40B4-BE49-F238E27FC236}">
                  <a16:creationId xmlns:a16="http://schemas.microsoft.com/office/drawing/2014/main" id="{009B2A6E-6D36-4A9A-AFAA-CF4D859147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66">
              <a:extLst>
                <a:ext uri="{FF2B5EF4-FFF2-40B4-BE49-F238E27FC236}">
                  <a16:creationId xmlns:a16="http://schemas.microsoft.com/office/drawing/2014/main" id="{85DC0718-B29F-47A6-931F-F0EF9FA99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tangle 64">
              <a:extLst>
                <a:ext uri="{FF2B5EF4-FFF2-40B4-BE49-F238E27FC236}">
                  <a16:creationId xmlns:a16="http://schemas.microsoft.com/office/drawing/2014/main" id="{AAED958D-AFCC-4BEF-818A-EFF7E41D17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tangle 66">
              <a:extLst>
                <a:ext uri="{FF2B5EF4-FFF2-40B4-BE49-F238E27FC236}">
                  <a16:creationId xmlns:a16="http://schemas.microsoft.com/office/drawing/2014/main" id="{C216DD5A-D1AE-429E-937E-456A50345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tangle 64">
              <a:extLst>
                <a:ext uri="{FF2B5EF4-FFF2-40B4-BE49-F238E27FC236}">
                  <a16:creationId xmlns:a16="http://schemas.microsoft.com/office/drawing/2014/main" id="{A845B253-9DEE-45AC-AADA-FAA6812C3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tangle 66">
              <a:extLst>
                <a:ext uri="{FF2B5EF4-FFF2-40B4-BE49-F238E27FC236}">
                  <a16:creationId xmlns:a16="http://schemas.microsoft.com/office/drawing/2014/main" id="{CE7B6CBF-757B-4B55-84CB-062B712D3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tangle 64">
              <a:extLst>
                <a:ext uri="{FF2B5EF4-FFF2-40B4-BE49-F238E27FC236}">
                  <a16:creationId xmlns:a16="http://schemas.microsoft.com/office/drawing/2014/main" id="{2CC28C7A-EF33-43D3-90CD-DCAC92546A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tangle 66">
              <a:extLst>
                <a:ext uri="{FF2B5EF4-FFF2-40B4-BE49-F238E27FC236}">
                  <a16:creationId xmlns:a16="http://schemas.microsoft.com/office/drawing/2014/main" id="{BC0C9DCF-F15B-4B7A-A16B-37B4335E6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tangle 64">
              <a:extLst>
                <a:ext uri="{FF2B5EF4-FFF2-40B4-BE49-F238E27FC236}">
                  <a16:creationId xmlns:a16="http://schemas.microsoft.com/office/drawing/2014/main" id="{94991FD1-406A-4958-87D4-8DFA9FEA4C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tangle 66">
              <a:extLst>
                <a:ext uri="{FF2B5EF4-FFF2-40B4-BE49-F238E27FC236}">
                  <a16:creationId xmlns:a16="http://schemas.microsoft.com/office/drawing/2014/main" id="{5CD32F69-27AD-4088-877C-E2A40F8B07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233984"/>
            <a:ext cx="493163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F3C958D-8E3B-97D4-859D-CED78FA57F9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163" y="4401614"/>
            <a:ext cx="1767091" cy="174942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14919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POS DE DIBUJO TÉCNIC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pic>
        <p:nvPicPr>
          <p:cNvPr id="8194" name="Picture 2" descr="EL DIBUJO, GÉNEROS Y ESTILOS">
            <a:extLst>
              <a:ext uri="{FF2B5EF4-FFF2-40B4-BE49-F238E27FC236}">
                <a16:creationId xmlns:a16="http://schemas.microsoft.com/office/drawing/2014/main" id="{84973CB7-2A7C-36D8-8B18-600542CEBDA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24538" y="2527019"/>
            <a:ext cx="7572086" cy="4161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32760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F3C958D-8E3B-97D4-859D-CED78FA57F9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163" y="4401614"/>
            <a:ext cx="1767091" cy="174942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É ES EL DIBUJO TÉCNICO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0F7C65-DA8B-2A66-5C5B-B5A2E95C8967}"/>
              </a:ext>
            </a:extLst>
          </p:cNvPr>
          <p:cNvSpPr txBox="1"/>
          <p:nvPr/>
        </p:nvSpPr>
        <p:spPr>
          <a:xfrm>
            <a:off x="2150533" y="2401364"/>
            <a:ext cx="7506294" cy="40005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 fontScale="55000" lnSpcReduction="20000"/>
          </a:bodyPr>
          <a:lstStyle/>
          <a:p>
            <a:pPr algn="l" fontAlgn="base"/>
            <a:r>
              <a:rPr lang="es-MX" sz="3600" b="0" i="0" dirty="0">
                <a:solidFill>
                  <a:srgbClr val="555555"/>
                </a:solidFill>
                <a:effectLst/>
                <a:latin typeface="Helvetica" panose="020B0604020202020204" pitchFamily="34" charset="0"/>
              </a:rPr>
              <a:t>Un </a:t>
            </a:r>
            <a:r>
              <a:rPr lang="es-MX" sz="3600" b="1" i="0" dirty="0">
                <a:solidFill>
                  <a:srgbClr val="555555"/>
                </a:solidFill>
                <a:effectLst/>
                <a:latin typeface="Helvetica" panose="020B0604020202020204" pitchFamily="34" charset="0"/>
              </a:rPr>
              <a:t>dibujo</a:t>
            </a:r>
            <a:r>
              <a:rPr lang="es-MX" sz="3600" b="0" i="0" dirty="0">
                <a:solidFill>
                  <a:srgbClr val="555555"/>
                </a:solidFill>
                <a:effectLst/>
                <a:latin typeface="Helvetica" panose="020B0604020202020204" pitchFamily="34" charset="0"/>
              </a:rPr>
              <a:t> es:</a:t>
            </a:r>
          </a:p>
          <a:p>
            <a:pPr algn="l" fontAlgn="base"/>
            <a:endParaRPr lang="es-MX" sz="3600" dirty="0">
              <a:solidFill>
                <a:srgbClr val="555555"/>
              </a:solidFill>
              <a:latin typeface="Helvetica" panose="020B0604020202020204" pitchFamily="34" charset="0"/>
            </a:endParaRPr>
          </a:p>
          <a:p>
            <a:pPr algn="l" fontAlgn="base"/>
            <a:r>
              <a:rPr lang="es-MX" sz="3600" dirty="0">
                <a:solidFill>
                  <a:srgbClr val="555555"/>
                </a:solidFill>
                <a:latin typeface="Helvetica" panose="020B0604020202020204" pitchFamily="34" charset="0"/>
              </a:rPr>
              <a:t>Una figura, imagen o delineación que se suele hacer manualmente con ayuda de alguna herramienta (un lápiz, un pincel) sobre distintos materiales. </a:t>
            </a:r>
          </a:p>
          <a:p>
            <a:pPr algn="l" fontAlgn="base"/>
            <a:endParaRPr lang="es-MX" sz="3600" dirty="0">
              <a:solidFill>
                <a:srgbClr val="555555"/>
              </a:solidFill>
              <a:latin typeface="Helvetica" panose="020B0604020202020204" pitchFamily="34" charset="0"/>
            </a:endParaRPr>
          </a:p>
          <a:p>
            <a:pPr algn="l" fontAlgn="base"/>
            <a:r>
              <a:rPr lang="es-MX" sz="3600" dirty="0">
                <a:solidFill>
                  <a:srgbClr val="555555"/>
                </a:solidFill>
                <a:latin typeface="Helvetica" panose="020B0604020202020204" pitchFamily="34" charset="0"/>
              </a:rPr>
              <a:t>El concepto de técnico, por otra parte, hace referencia a un procedimiento vinculado a la ciencia cuyo objetivo es la obtención de un cierto resultado.</a:t>
            </a:r>
          </a:p>
          <a:p>
            <a:pPr algn="l" fontAlgn="base"/>
            <a:endParaRPr lang="es-MX" sz="3600" dirty="0">
              <a:solidFill>
                <a:srgbClr val="555555"/>
              </a:solidFill>
              <a:latin typeface="Helvetica" panose="020B0604020202020204" pitchFamily="34" charset="0"/>
            </a:endParaRPr>
          </a:p>
          <a:p>
            <a:pPr algn="l" fontAlgn="base"/>
            <a:r>
              <a:rPr lang="es-MX" sz="3600" dirty="0">
                <a:solidFill>
                  <a:srgbClr val="555555"/>
                </a:solidFill>
                <a:latin typeface="Helvetica" panose="020B0604020202020204" pitchFamily="34" charset="0"/>
              </a:rPr>
              <a:t>Se conoce como dibujo técnico al sistema de representación gráfico de distintos tipos de objetos. Su fin es brindar la información necesaria para analizar el objeto, ayudar a su diseño y posibilitar su construcción o mantenimiento.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es-EC" sz="3600" dirty="0">
              <a:solidFill>
                <a:srgbClr val="004083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</p:spTree>
    <p:extLst>
      <p:ext uri="{BB962C8B-B14F-4D97-AF65-F5344CB8AC3E}">
        <p14:creationId xmlns:p14="http://schemas.microsoft.com/office/powerpoint/2010/main" val="11381014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F3C958D-8E3B-97D4-859D-CED78FA57F9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163" y="4401614"/>
            <a:ext cx="1767091" cy="174942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É ES EL DIBUJO TÉCNIC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54EA754-4205-0D9C-2CCA-30BD61E7BCC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57450" y="2506318"/>
            <a:ext cx="6757987" cy="3999144"/>
          </a:xfrm>
          <a:prstGeom prst="rect">
            <a:avLst/>
          </a:pr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EC2418D9-510B-C7F3-19EB-117287A91AEA}"/>
              </a:ext>
            </a:extLst>
          </p:cNvPr>
          <p:cNvSpPr/>
          <p:nvPr/>
        </p:nvSpPr>
        <p:spPr>
          <a:xfrm>
            <a:off x="7686675" y="5924550"/>
            <a:ext cx="1528762" cy="58091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6824073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8" name="Rectangle 1032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208032" y="80311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85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TALLER 1</a:t>
            </a:r>
          </a:p>
        </p:txBody>
      </p:sp>
      <p:sp>
        <p:nvSpPr>
          <p:cNvPr id="1060" name="Rectangle 1034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93163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1F49CE81-B2F4-47B2-9D4A-886DCE0A8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65848" y="73152"/>
            <a:ext cx="957911" cy="232963"/>
            <a:chOff x="7763256" y="73152"/>
            <a:chExt cx="1178966" cy="232963"/>
          </a:xfrm>
        </p:grpSpPr>
        <p:sp>
          <p:nvSpPr>
            <p:cNvPr id="1038" name="Rectangle 64">
              <a:extLst>
                <a:ext uri="{FF2B5EF4-FFF2-40B4-BE49-F238E27FC236}">
                  <a16:creationId xmlns:a16="http://schemas.microsoft.com/office/drawing/2014/main" id="{4BE32177-3EAD-42DA-997C-8DAE1BFEE5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tangle 66">
              <a:extLst>
                <a:ext uri="{FF2B5EF4-FFF2-40B4-BE49-F238E27FC236}">
                  <a16:creationId xmlns:a16="http://schemas.microsoft.com/office/drawing/2014/main" id="{A0DEE160-9825-4DB5-8188-911AC13EA7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tangle 64">
              <a:extLst>
                <a:ext uri="{FF2B5EF4-FFF2-40B4-BE49-F238E27FC236}">
                  <a16:creationId xmlns:a16="http://schemas.microsoft.com/office/drawing/2014/main" id="{9C5FEDB5-0AEE-40E4-9CA6-6718B956D9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tangle 66">
              <a:extLst>
                <a:ext uri="{FF2B5EF4-FFF2-40B4-BE49-F238E27FC236}">
                  <a16:creationId xmlns:a16="http://schemas.microsoft.com/office/drawing/2014/main" id="{1A11DF2D-1D4B-45DA-906B-2A1F84C99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tangle 64">
              <a:extLst>
                <a:ext uri="{FF2B5EF4-FFF2-40B4-BE49-F238E27FC236}">
                  <a16:creationId xmlns:a16="http://schemas.microsoft.com/office/drawing/2014/main" id="{B6A5BAC0-9806-4124-A584-7F924A6589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tangle 66">
              <a:extLst>
                <a:ext uri="{FF2B5EF4-FFF2-40B4-BE49-F238E27FC236}">
                  <a16:creationId xmlns:a16="http://schemas.microsoft.com/office/drawing/2014/main" id="{A8F6BFA3-38BE-4F0A-94D9-EF0E6EA01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tangle 64">
              <a:extLst>
                <a:ext uri="{FF2B5EF4-FFF2-40B4-BE49-F238E27FC236}">
                  <a16:creationId xmlns:a16="http://schemas.microsoft.com/office/drawing/2014/main" id="{BE6BCF21-959F-419E-BCA4-B20AF92EF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tangle 66">
              <a:extLst>
                <a:ext uri="{FF2B5EF4-FFF2-40B4-BE49-F238E27FC236}">
                  <a16:creationId xmlns:a16="http://schemas.microsoft.com/office/drawing/2014/main" id="{54B6E037-E222-42EB-9AEB-C45EF2090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tangle 64">
              <a:extLst>
                <a:ext uri="{FF2B5EF4-FFF2-40B4-BE49-F238E27FC236}">
                  <a16:creationId xmlns:a16="http://schemas.microsoft.com/office/drawing/2014/main" id="{A0494426-372E-42B8-87E1-170F1B5969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tangle 66">
              <a:extLst>
                <a:ext uri="{FF2B5EF4-FFF2-40B4-BE49-F238E27FC236}">
                  <a16:creationId xmlns:a16="http://schemas.microsoft.com/office/drawing/2014/main" id="{14DB5AB5-5D73-4375-8CF4-DF4B7A5D7F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tangle 64">
              <a:extLst>
                <a:ext uri="{FF2B5EF4-FFF2-40B4-BE49-F238E27FC236}">
                  <a16:creationId xmlns:a16="http://schemas.microsoft.com/office/drawing/2014/main" id="{009B2A6E-6D36-4A9A-AFAA-CF4D859147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66">
              <a:extLst>
                <a:ext uri="{FF2B5EF4-FFF2-40B4-BE49-F238E27FC236}">
                  <a16:creationId xmlns:a16="http://schemas.microsoft.com/office/drawing/2014/main" id="{85DC0718-B29F-47A6-931F-F0EF9FA99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tangle 64">
              <a:extLst>
                <a:ext uri="{FF2B5EF4-FFF2-40B4-BE49-F238E27FC236}">
                  <a16:creationId xmlns:a16="http://schemas.microsoft.com/office/drawing/2014/main" id="{AAED958D-AFCC-4BEF-818A-EFF7E41D17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tangle 66">
              <a:extLst>
                <a:ext uri="{FF2B5EF4-FFF2-40B4-BE49-F238E27FC236}">
                  <a16:creationId xmlns:a16="http://schemas.microsoft.com/office/drawing/2014/main" id="{C216DD5A-D1AE-429E-937E-456A50345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tangle 64">
              <a:extLst>
                <a:ext uri="{FF2B5EF4-FFF2-40B4-BE49-F238E27FC236}">
                  <a16:creationId xmlns:a16="http://schemas.microsoft.com/office/drawing/2014/main" id="{A845B253-9DEE-45AC-AADA-FAA6812C3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tangle 66">
              <a:extLst>
                <a:ext uri="{FF2B5EF4-FFF2-40B4-BE49-F238E27FC236}">
                  <a16:creationId xmlns:a16="http://schemas.microsoft.com/office/drawing/2014/main" id="{CE7B6CBF-757B-4B55-84CB-062B712D3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tangle 64">
              <a:extLst>
                <a:ext uri="{FF2B5EF4-FFF2-40B4-BE49-F238E27FC236}">
                  <a16:creationId xmlns:a16="http://schemas.microsoft.com/office/drawing/2014/main" id="{2CC28C7A-EF33-43D3-90CD-DCAC92546A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tangle 66">
              <a:extLst>
                <a:ext uri="{FF2B5EF4-FFF2-40B4-BE49-F238E27FC236}">
                  <a16:creationId xmlns:a16="http://schemas.microsoft.com/office/drawing/2014/main" id="{BC0C9DCF-F15B-4B7A-A16B-37B4335E6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tangle 64">
              <a:extLst>
                <a:ext uri="{FF2B5EF4-FFF2-40B4-BE49-F238E27FC236}">
                  <a16:creationId xmlns:a16="http://schemas.microsoft.com/office/drawing/2014/main" id="{94991FD1-406A-4958-87D4-8DFA9FEA4C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tangle 66">
              <a:extLst>
                <a:ext uri="{FF2B5EF4-FFF2-40B4-BE49-F238E27FC236}">
                  <a16:creationId xmlns:a16="http://schemas.microsoft.com/office/drawing/2014/main" id="{5CD32F69-27AD-4088-877C-E2A40F8B07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366610" y="25504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233984"/>
            <a:ext cx="493163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F3C958D-8E3B-97D4-859D-CED78FA57F9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3108" y="5433023"/>
            <a:ext cx="1365480" cy="135182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2772A-D90C-5E37-F46A-348F8D6546EF}"/>
              </a:ext>
            </a:extLst>
          </p:cNvPr>
          <p:cNvSpPr txBox="1"/>
          <p:nvPr/>
        </p:nvSpPr>
        <p:spPr>
          <a:xfrm>
            <a:off x="2636214" y="1704690"/>
            <a:ext cx="7269786" cy="107874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s-EC" sz="2400" b="1" dirty="0">
              <a:solidFill>
                <a:srgbClr val="004083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60EB53-9B2D-8B8B-E125-2AA735DF74DE}"/>
              </a:ext>
            </a:extLst>
          </p:cNvPr>
          <p:cNvSpPr txBox="1"/>
          <p:nvPr/>
        </p:nvSpPr>
        <p:spPr>
          <a:xfrm>
            <a:off x="982103" y="650945"/>
            <a:ext cx="3970897" cy="12350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ara </a:t>
            </a:r>
            <a:r>
              <a:rPr lang="en-US" sz="38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qué</a:t>
            </a:r>
            <a:r>
              <a:rPr lang="en-US" sz="3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 </a:t>
            </a:r>
            <a:r>
              <a:rPr lang="en-US" sz="38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sirve</a:t>
            </a:r>
            <a:r>
              <a:rPr lang="en-US" sz="3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 </a:t>
            </a:r>
            <a:r>
              <a:rPr lang="en-US" sz="38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el</a:t>
            </a:r>
            <a:r>
              <a:rPr lang="en-US" sz="3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 </a:t>
            </a:r>
            <a:r>
              <a:rPr lang="en-US" sz="38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Dibujo</a:t>
            </a:r>
            <a:r>
              <a:rPr lang="en-US" sz="3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 Técnico</a:t>
            </a:r>
          </a:p>
        </p:txBody>
      </p:sp>
      <p:pic>
        <p:nvPicPr>
          <p:cNvPr id="2" name="Online Media 1" title="Para qué es el dibujo técnico">
            <a:hlinkClick r:id="" action="ppaction://media"/>
            <a:extLst>
              <a:ext uri="{FF2B5EF4-FFF2-40B4-BE49-F238E27FC236}">
                <a16:creationId xmlns:a16="http://schemas.microsoft.com/office/drawing/2014/main" id="{936A6116-F4A8-9932-3A2B-68B650B7D97F}"/>
              </a:ext>
            </a:extLst>
          </p:cNvPr>
          <p:cNvPicPr>
            <a:picLocks noRot="1" noChangeAspect="1"/>
          </p:cNvPicPr>
          <p:nvPr>
            <a:videoFile r:link="rId1"/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1517654" y="2151530"/>
            <a:ext cx="7784987" cy="4491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8848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8" name="Rectangle 1032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sp>
        <p:nvSpPr>
          <p:cNvPr id="1060" name="Rectangle 1034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93163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1F49CE81-B2F4-47B2-9D4A-886DCE0A8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65848" y="73152"/>
            <a:ext cx="957911" cy="232963"/>
            <a:chOff x="7763256" y="73152"/>
            <a:chExt cx="1178966" cy="232963"/>
          </a:xfrm>
        </p:grpSpPr>
        <p:sp>
          <p:nvSpPr>
            <p:cNvPr id="1038" name="Rectangle 64">
              <a:extLst>
                <a:ext uri="{FF2B5EF4-FFF2-40B4-BE49-F238E27FC236}">
                  <a16:creationId xmlns:a16="http://schemas.microsoft.com/office/drawing/2014/main" id="{4BE32177-3EAD-42DA-997C-8DAE1BFEE5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tangle 66">
              <a:extLst>
                <a:ext uri="{FF2B5EF4-FFF2-40B4-BE49-F238E27FC236}">
                  <a16:creationId xmlns:a16="http://schemas.microsoft.com/office/drawing/2014/main" id="{A0DEE160-9825-4DB5-8188-911AC13EA7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tangle 64">
              <a:extLst>
                <a:ext uri="{FF2B5EF4-FFF2-40B4-BE49-F238E27FC236}">
                  <a16:creationId xmlns:a16="http://schemas.microsoft.com/office/drawing/2014/main" id="{9C5FEDB5-0AEE-40E4-9CA6-6718B956D9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tangle 66">
              <a:extLst>
                <a:ext uri="{FF2B5EF4-FFF2-40B4-BE49-F238E27FC236}">
                  <a16:creationId xmlns:a16="http://schemas.microsoft.com/office/drawing/2014/main" id="{1A11DF2D-1D4B-45DA-906B-2A1F84C99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tangle 64">
              <a:extLst>
                <a:ext uri="{FF2B5EF4-FFF2-40B4-BE49-F238E27FC236}">
                  <a16:creationId xmlns:a16="http://schemas.microsoft.com/office/drawing/2014/main" id="{B6A5BAC0-9806-4124-A584-7F924A6589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tangle 66">
              <a:extLst>
                <a:ext uri="{FF2B5EF4-FFF2-40B4-BE49-F238E27FC236}">
                  <a16:creationId xmlns:a16="http://schemas.microsoft.com/office/drawing/2014/main" id="{A8F6BFA3-38BE-4F0A-94D9-EF0E6EA01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tangle 64">
              <a:extLst>
                <a:ext uri="{FF2B5EF4-FFF2-40B4-BE49-F238E27FC236}">
                  <a16:creationId xmlns:a16="http://schemas.microsoft.com/office/drawing/2014/main" id="{BE6BCF21-959F-419E-BCA4-B20AF92EF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tangle 66">
              <a:extLst>
                <a:ext uri="{FF2B5EF4-FFF2-40B4-BE49-F238E27FC236}">
                  <a16:creationId xmlns:a16="http://schemas.microsoft.com/office/drawing/2014/main" id="{54B6E037-E222-42EB-9AEB-C45EF2090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tangle 64">
              <a:extLst>
                <a:ext uri="{FF2B5EF4-FFF2-40B4-BE49-F238E27FC236}">
                  <a16:creationId xmlns:a16="http://schemas.microsoft.com/office/drawing/2014/main" id="{A0494426-372E-42B8-87E1-170F1B5969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tangle 66">
              <a:extLst>
                <a:ext uri="{FF2B5EF4-FFF2-40B4-BE49-F238E27FC236}">
                  <a16:creationId xmlns:a16="http://schemas.microsoft.com/office/drawing/2014/main" id="{14DB5AB5-5D73-4375-8CF4-DF4B7A5D7F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tangle 64">
              <a:extLst>
                <a:ext uri="{FF2B5EF4-FFF2-40B4-BE49-F238E27FC236}">
                  <a16:creationId xmlns:a16="http://schemas.microsoft.com/office/drawing/2014/main" id="{009B2A6E-6D36-4A9A-AFAA-CF4D859147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66">
              <a:extLst>
                <a:ext uri="{FF2B5EF4-FFF2-40B4-BE49-F238E27FC236}">
                  <a16:creationId xmlns:a16="http://schemas.microsoft.com/office/drawing/2014/main" id="{85DC0718-B29F-47A6-931F-F0EF9FA99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tangle 64">
              <a:extLst>
                <a:ext uri="{FF2B5EF4-FFF2-40B4-BE49-F238E27FC236}">
                  <a16:creationId xmlns:a16="http://schemas.microsoft.com/office/drawing/2014/main" id="{AAED958D-AFCC-4BEF-818A-EFF7E41D17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tangle 66">
              <a:extLst>
                <a:ext uri="{FF2B5EF4-FFF2-40B4-BE49-F238E27FC236}">
                  <a16:creationId xmlns:a16="http://schemas.microsoft.com/office/drawing/2014/main" id="{C216DD5A-D1AE-429E-937E-456A50345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tangle 64">
              <a:extLst>
                <a:ext uri="{FF2B5EF4-FFF2-40B4-BE49-F238E27FC236}">
                  <a16:creationId xmlns:a16="http://schemas.microsoft.com/office/drawing/2014/main" id="{A845B253-9DEE-45AC-AADA-FAA6812C3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tangle 66">
              <a:extLst>
                <a:ext uri="{FF2B5EF4-FFF2-40B4-BE49-F238E27FC236}">
                  <a16:creationId xmlns:a16="http://schemas.microsoft.com/office/drawing/2014/main" id="{CE7B6CBF-757B-4B55-84CB-062B712D3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tangle 64">
              <a:extLst>
                <a:ext uri="{FF2B5EF4-FFF2-40B4-BE49-F238E27FC236}">
                  <a16:creationId xmlns:a16="http://schemas.microsoft.com/office/drawing/2014/main" id="{2CC28C7A-EF33-43D3-90CD-DCAC92546A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tangle 66">
              <a:extLst>
                <a:ext uri="{FF2B5EF4-FFF2-40B4-BE49-F238E27FC236}">
                  <a16:creationId xmlns:a16="http://schemas.microsoft.com/office/drawing/2014/main" id="{BC0C9DCF-F15B-4B7A-A16B-37B4335E6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tangle 64">
              <a:extLst>
                <a:ext uri="{FF2B5EF4-FFF2-40B4-BE49-F238E27FC236}">
                  <a16:creationId xmlns:a16="http://schemas.microsoft.com/office/drawing/2014/main" id="{94991FD1-406A-4958-87D4-8DFA9FEA4C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tangle 66">
              <a:extLst>
                <a:ext uri="{FF2B5EF4-FFF2-40B4-BE49-F238E27FC236}">
                  <a16:creationId xmlns:a16="http://schemas.microsoft.com/office/drawing/2014/main" id="{5CD32F69-27AD-4088-877C-E2A40F8B07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233984"/>
            <a:ext cx="493163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F3C958D-8E3B-97D4-859D-CED78FA57F9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581" y="5157787"/>
            <a:ext cx="1654165" cy="163762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EMENTOS BÁSICOS DEL DIBUJO TÉCNIC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FFCB35-AB35-9544-3BEE-6CD1EAAC1D15}"/>
              </a:ext>
            </a:extLst>
          </p:cNvPr>
          <p:cNvSpPr txBox="1"/>
          <p:nvPr/>
        </p:nvSpPr>
        <p:spPr>
          <a:xfrm>
            <a:off x="1879585" y="2538005"/>
            <a:ext cx="7782004" cy="400348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 fontScale="62500" lnSpcReduction="20000"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45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UNTO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 define como la intersección de dos rectas. No tiene dimensiones y se nombra con una letra mayúscula (punto P).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es-MX" sz="3600" dirty="0">
              <a:solidFill>
                <a:srgbClr val="004083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4500" b="1" dirty="0">
                <a:solidFill>
                  <a:srgbClr val="004083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LÍNEA.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 una sucesión de puntos.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a línea se denomina </a:t>
            </a:r>
            <a:r>
              <a:rPr lang="es-MX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cta </a:t>
            </a: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ando los puntos van en una misma dirección, en caso contrario se denomina </a:t>
            </a:r>
            <a:r>
              <a:rPr lang="es-MX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rva</a:t>
            </a: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s líneas tienen una dimensión y se nombran con una letra minúscula (recta r o curva c)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E4E3532-987E-DBD7-5895-DB1CF880C28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04940" y="2684831"/>
            <a:ext cx="1176648" cy="105318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88633FC-31A9-9B28-41ED-9BDD3F3D9257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6226" y="3987010"/>
            <a:ext cx="2520865" cy="76849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C6B8B5D-6CE0-BF49-BE20-5B433ED3F321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9334" y="3987010"/>
            <a:ext cx="2133716" cy="854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39954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8" name="Rectangle 1032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sp>
        <p:nvSpPr>
          <p:cNvPr id="1060" name="Rectangle 1034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93163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1F49CE81-B2F4-47B2-9D4A-886DCE0A8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65848" y="73152"/>
            <a:ext cx="957911" cy="232963"/>
            <a:chOff x="7763256" y="73152"/>
            <a:chExt cx="1178966" cy="232963"/>
          </a:xfrm>
        </p:grpSpPr>
        <p:sp>
          <p:nvSpPr>
            <p:cNvPr id="1038" name="Rectangle 64">
              <a:extLst>
                <a:ext uri="{FF2B5EF4-FFF2-40B4-BE49-F238E27FC236}">
                  <a16:creationId xmlns:a16="http://schemas.microsoft.com/office/drawing/2014/main" id="{4BE32177-3EAD-42DA-997C-8DAE1BFEE5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tangle 66">
              <a:extLst>
                <a:ext uri="{FF2B5EF4-FFF2-40B4-BE49-F238E27FC236}">
                  <a16:creationId xmlns:a16="http://schemas.microsoft.com/office/drawing/2014/main" id="{A0DEE160-9825-4DB5-8188-911AC13EA7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tangle 64">
              <a:extLst>
                <a:ext uri="{FF2B5EF4-FFF2-40B4-BE49-F238E27FC236}">
                  <a16:creationId xmlns:a16="http://schemas.microsoft.com/office/drawing/2014/main" id="{9C5FEDB5-0AEE-40E4-9CA6-6718B956D9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tangle 66">
              <a:extLst>
                <a:ext uri="{FF2B5EF4-FFF2-40B4-BE49-F238E27FC236}">
                  <a16:creationId xmlns:a16="http://schemas.microsoft.com/office/drawing/2014/main" id="{1A11DF2D-1D4B-45DA-906B-2A1F84C99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tangle 64">
              <a:extLst>
                <a:ext uri="{FF2B5EF4-FFF2-40B4-BE49-F238E27FC236}">
                  <a16:creationId xmlns:a16="http://schemas.microsoft.com/office/drawing/2014/main" id="{B6A5BAC0-9806-4124-A584-7F924A6589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tangle 66">
              <a:extLst>
                <a:ext uri="{FF2B5EF4-FFF2-40B4-BE49-F238E27FC236}">
                  <a16:creationId xmlns:a16="http://schemas.microsoft.com/office/drawing/2014/main" id="{A8F6BFA3-38BE-4F0A-94D9-EF0E6EA01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tangle 64">
              <a:extLst>
                <a:ext uri="{FF2B5EF4-FFF2-40B4-BE49-F238E27FC236}">
                  <a16:creationId xmlns:a16="http://schemas.microsoft.com/office/drawing/2014/main" id="{BE6BCF21-959F-419E-BCA4-B20AF92EF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tangle 66">
              <a:extLst>
                <a:ext uri="{FF2B5EF4-FFF2-40B4-BE49-F238E27FC236}">
                  <a16:creationId xmlns:a16="http://schemas.microsoft.com/office/drawing/2014/main" id="{54B6E037-E222-42EB-9AEB-C45EF2090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tangle 64">
              <a:extLst>
                <a:ext uri="{FF2B5EF4-FFF2-40B4-BE49-F238E27FC236}">
                  <a16:creationId xmlns:a16="http://schemas.microsoft.com/office/drawing/2014/main" id="{A0494426-372E-42B8-87E1-170F1B5969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tangle 66">
              <a:extLst>
                <a:ext uri="{FF2B5EF4-FFF2-40B4-BE49-F238E27FC236}">
                  <a16:creationId xmlns:a16="http://schemas.microsoft.com/office/drawing/2014/main" id="{14DB5AB5-5D73-4375-8CF4-DF4B7A5D7F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tangle 64">
              <a:extLst>
                <a:ext uri="{FF2B5EF4-FFF2-40B4-BE49-F238E27FC236}">
                  <a16:creationId xmlns:a16="http://schemas.microsoft.com/office/drawing/2014/main" id="{009B2A6E-6D36-4A9A-AFAA-CF4D859147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66">
              <a:extLst>
                <a:ext uri="{FF2B5EF4-FFF2-40B4-BE49-F238E27FC236}">
                  <a16:creationId xmlns:a16="http://schemas.microsoft.com/office/drawing/2014/main" id="{85DC0718-B29F-47A6-931F-F0EF9FA99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tangle 64">
              <a:extLst>
                <a:ext uri="{FF2B5EF4-FFF2-40B4-BE49-F238E27FC236}">
                  <a16:creationId xmlns:a16="http://schemas.microsoft.com/office/drawing/2014/main" id="{AAED958D-AFCC-4BEF-818A-EFF7E41D17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tangle 66">
              <a:extLst>
                <a:ext uri="{FF2B5EF4-FFF2-40B4-BE49-F238E27FC236}">
                  <a16:creationId xmlns:a16="http://schemas.microsoft.com/office/drawing/2014/main" id="{C216DD5A-D1AE-429E-937E-456A50345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tangle 64">
              <a:extLst>
                <a:ext uri="{FF2B5EF4-FFF2-40B4-BE49-F238E27FC236}">
                  <a16:creationId xmlns:a16="http://schemas.microsoft.com/office/drawing/2014/main" id="{A845B253-9DEE-45AC-AADA-FAA6812C3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tangle 66">
              <a:extLst>
                <a:ext uri="{FF2B5EF4-FFF2-40B4-BE49-F238E27FC236}">
                  <a16:creationId xmlns:a16="http://schemas.microsoft.com/office/drawing/2014/main" id="{CE7B6CBF-757B-4B55-84CB-062B712D3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tangle 64">
              <a:extLst>
                <a:ext uri="{FF2B5EF4-FFF2-40B4-BE49-F238E27FC236}">
                  <a16:creationId xmlns:a16="http://schemas.microsoft.com/office/drawing/2014/main" id="{2CC28C7A-EF33-43D3-90CD-DCAC92546A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tangle 66">
              <a:extLst>
                <a:ext uri="{FF2B5EF4-FFF2-40B4-BE49-F238E27FC236}">
                  <a16:creationId xmlns:a16="http://schemas.microsoft.com/office/drawing/2014/main" id="{BC0C9DCF-F15B-4B7A-A16B-37B4335E6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tangle 64">
              <a:extLst>
                <a:ext uri="{FF2B5EF4-FFF2-40B4-BE49-F238E27FC236}">
                  <a16:creationId xmlns:a16="http://schemas.microsoft.com/office/drawing/2014/main" id="{94991FD1-406A-4958-87D4-8DFA9FEA4C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tangle 66">
              <a:extLst>
                <a:ext uri="{FF2B5EF4-FFF2-40B4-BE49-F238E27FC236}">
                  <a16:creationId xmlns:a16="http://schemas.microsoft.com/office/drawing/2014/main" id="{5CD32F69-27AD-4088-877C-E2A40F8B07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233984"/>
            <a:ext cx="493163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F3C958D-8E3B-97D4-859D-CED78FA57F9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581" y="5157787"/>
            <a:ext cx="1654165" cy="163762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EMENTOS BÁSICOS DEL DIBUJO TÉCNIC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FFCB35-AB35-9544-3BEE-6CD1EAAC1D15}"/>
              </a:ext>
            </a:extLst>
          </p:cNvPr>
          <p:cNvSpPr txBox="1"/>
          <p:nvPr/>
        </p:nvSpPr>
        <p:spPr>
          <a:xfrm>
            <a:off x="1879585" y="2538005"/>
            <a:ext cx="7782004" cy="400348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 fontScale="62500" lnSpcReduction="20000"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MIRRECTA.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 una recta limitada por un extremo, y se nombra mediante el punto origen y el nombre de la recta (semirrecta A-r).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es-MX" sz="3600" dirty="0">
              <a:solidFill>
                <a:srgbClr val="004083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GMENTO.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 una porción de línea limitada por dos puntos.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 la línea origen es recta se denomina </a:t>
            </a:r>
            <a:r>
              <a:rPr lang="es-MX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gmento</a:t>
            </a: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y si la línea origen es curva se denomina </a:t>
            </a:r>
            <a:r>
              <a:rPr lang="es-MX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rco</a:t>
            </a: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 nombra mediante los puntos de sus extremos (segmento AB o arco AB)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25F7BDE-2467-E9AD-2BEC-C5EBE4F48F8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3347" y="2571634"/>
            <a:ext cx="1705341" cy="60019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E606E21-A13F-379A-F745-97A312FB8B2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9886" y="4503770"/>
            <a:ext cx="1767239" cy="542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78007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8" name="Rectangle 1032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sp>
        <p:nvSpPr>
          <p:cNvPr id="1060" name="Rectangle 1034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93163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1F49CE81-B2F4-47B2-9D4A-886DCE0A8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65848" y="73152"/>
            <a:ext cx="957911" cy="232963"/>
            <a:chOff x="7763256" y="73152"/>
            <a:chExt cx="1178966" cy="232963"/>
          </a:xfrm>
        </p:grpSpPr>
        <p:sp>
          <p:nvSpPr>
            <p:cNvPr id="1038" name="Rectangle 64">
              <a:extLst>
                <a:ext uri="{FF2B5EF4-FFF2-40B4-BE49-F238E27FC236}">
                  <a16:creationId xmlns:a16="http://schemas.microsoft.com/office/drawing/2014/main" id="{4BE32177-3EAD-42DA-997C-8DAE1BFEE5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tangle 66">
              <a:extLst>
                <a:ext uri="{FF2B5EF4-FFF2-40B4-BE49-F238E27FC236}">
                  <a16:creationId xmlns:a16="http://schemas.microsoft.com/office/drawing/2014/main" id="{A0DEE160-9825-4DB5-8188-911AC13EA7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tangle 64">
              <a:extLst>
                <a:ext uri="{FF2B5EF4-FFF2-40B4-BE49-F238E27FC236}">
                  <a16:creationId xmlns:a16="http://schemas.microsoft.com/office/drawing/2014/main" id="{9C5FEDB5-0AEE-40E4-9CA6-6718B956D9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tangle 66">
              <a:extLst>
                <a:ext uri="{FF2B5EF4-FFF2-40B4-BE49-F238E27FC236}">
                  <a16:creationId xmlns:a16="http://schemas.microsoft.com/office/drawing/2014/main" id="{1A11DF2D-1D4B-45DA-906B-2A1F84C99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tangle 64">
              <a:extLst>
                <a:ext uri="{FF2B5EF4-FFF2-40B4-BE49-F238E27FC236}">
                  <a16:creationId xmlns:a16="http://schemas.microsoft.com/office/drawing/2014/main" id="{B6A5BAC0-9806-4124-A584-7F924A6589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tangle 66">
              <a:extLst>
                <a:ext uri="{FF2B5EF4-FFF2-40B4-BE49-F238E27FC236}">
                  <a16:creationId xmlns:a16="http://schemas.microsoft.com/office/drawing/2014/main" id="{A8F6BFA3-38BE-4F0A-94D9-EF0E6EA01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tangle 64">
              <a:extLst>
                <a:ext uri="{FF2B5EF4-FFF2-40B4-BE49-F238E27FC236}">
                  <a16:creationId xmlns:a16="http://schemas.microsoft.com/office/drawing/2014/main" id="{BE6BCF21-959F-419E-BCA4-B20AF92EF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tangle 66">
              <a:extLst>
                <a:ext uri="{FF2B5EF4-FFF2-40B4-BE49-F238E27FC236}">
                  <a16:creationId xmlns:a16="http://schemas.microsoft.com/office/drawing/2014/main" id="{54B6E037-E222-42EB-9AEB-C45EF2090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tangle 64">
              <a:extLst>
                <a:ext uri="{FF2B5EF4-FFF2-40B4-BE49-F238E27FC236}">
                  <a16:creationId xmlns:a16="http://schemas.microsoft.com/office/drawing/2014/main" id="{A0494426-372E-42B8-87E1-170F1B5969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tangle 66">
              <a:extLst>
                <a:ext uri="{FF2B5EF4-FFF2-40B4-BE49-F238E27FC236}">
                  <a16:creationId xmlns:a16="http://schemas.microsoft.com/office/drawing/2014/main" id="{14DB5AB5-5D73-4375-8CF4-DF4B7A5D7F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tangle 64">
              <a:extLst>
                <a:ext uri="{FF2B5EF4-FFF2-40B4-BE49-F238E27FC236}">
                  <a16:creationId xmlns:a16="http://schemas.microsoft.com/office/drawing/2014/main" id="{009B2A6E-6D36-4A9A-AFAA-CF4D859147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66">
              <a:extLst>
                <a:ext uri="{FF2B5EF4-FFF2-40B4-BE49-F238E27FC236}">
                  <a16:creationId xmlns:a16="http://schemas.microsoft.com/office/drawing/2014/main" id="{85DC0718-B29F-47A6-931F-F0EF9FA99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tangle 64">
              <a:extLst>
                <a:ext uri="{FF2B5EF4-FFF2-40B4-BE49-F238E27FC236}">
                  <a16:creationId xmlns:a16="http://schemas.microsoft.com/office/drawing/2014/main" id="{AAED958D-AFCC-4BEF-818A-EFF7E41D17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tangle 66">
              <a:extLst>
                <a:ext uri="{FF2B5EF4-FFF2-40B4-BE49-F238E27FC236}">
                  <a16:creationId xmlns:a16="http://schemas.microsoft.com/office/drawing/2014/main" id="{C216DD5A-D1AE-429E-937E-456A50345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tangle 64">
              <a:extLst>
                <a:ext uri="{FF2B5EF4-FFF2-40B4-BE49-F238E27FC236}">
                  <a16:creationId xmlns:a16="http://schemas.microsoft.com/office/drawing/2014/main" id="{A845B253-9DEE-45AC-AADA-FAA6812C3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tangle 66">
              <a:extLst>
                <a:ext uri="{FF2B5EF4-FFF2-40B4-BE49-F238E27FC236}">
                  <a16:creationId xmlns:a16="http://schemas.microsoft.com/office/drawing/2014/main" id="{CE7B6CBF-757B-4B55-84CB-062B712D3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tangle 64">
              <a:extLst>
                <a:ext uri="{FF2B5EF4-FFF2-40B4-BE49-F238E27FC236}">
                  <a16:creationId xmlns:a16="http://schemas.microsoft.com/office/drawing/2014/main" id="{2CC28C7A-EF33-43D3-90CD-DCAC92546A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tangle 66">
              <a:extLst>
                <a:ext uri="{FF2B5EF4-FFF2-40B4-BE49-F238E27FC236}">
                  <a16:creationId xmlns:a16="http://schemas.microsoft.com/office/drawing/2014/main" id="{BC0C9DCF-F15B-4B7A-A16B-37B4335E6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tangle 64">
              <a:extLst>
                <a:ext uri="{FF2B5EF4-FFF2-40B4-BE49-F238E27FC236}">
                  <a16:creationId xmlns:a16="http://schemas.microsoft.com/office/drawing/2014/main" id="{94991FD1-406A-4958-87D4-8DFA9FEA4C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tangle 66">
              <a:extLst>
                <a:ext uri="{FF2B5EF4-FFF2-40B4-BE49-F238E27FC236}">
                  <a16:creationId xmlns:a16="http://schemas.microsoft.com/office/drawing/2014/main" id="{5CD32F69-27AD-4088-877C-E2A40F8B07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233984"/>
            <a:ext cx="493163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F3C958D-8E3B-97D4-859D-CED78FA57F9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581" y="5157787"/>
            <a:ext cx="1654165" cy="163762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EMENTOS BÁSICOS DEL DIBUJO TÉCNIC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FFCB35-AB35-9544-3BEE-6CD1EAAC1D15}"/>
              </a:ext>
            </a:extLst>
          </p:cNvPr>
          <p:cNvSpPr txBox="1"/>
          <p:nvPr/>
        </p:nvSpPr>
        <p:spPr>
          <a:xfrm>
            <a:off x="1879585" y="2538005"/>
            <a:ext cx="7782004" cy="400348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 fontScale="62500" lnSpcReduction="20000"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es-MX" sz="3600" b="1" dirty="0">
              <a:solidFill>
                <a:srgbClr val="004083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es-MX" sz="3600" b="1" dirty="0">
              <a:solidFill>
                <a:srgbClr val="004083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ÁNGULO.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 define como la porción de plano comprendida entre dos </a:t>
            </a:r>
            <a:r>
              <a:rPr lang="es-MX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mirrectas</a:t>
            </a: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que tienen un mismo origen.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s semirrectas serán los </a:t>
            </a:r>
            <a:r>
              <a:rPr lang="es-MX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dos del ángulo</a:t>
            </a: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y su origen común </a:t>
            </a:r>
            <a:r>
              <a:rPr lang="es-MX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 vértice </a:t>
            </a: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 dicho ángulo.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 nombran mediante una letra mayúscula o una letra minúscula del alfabeto griego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ángulo A o ángulo alfa)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E619AAF-6295-4C4D-BB49-5ED1C1A0098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1945" y="2618316"/>
            <a:ext cx="1895830" cy="1319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8156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8" name="Rectangle 1032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sp>
        <p:nvSpPr>
          <p:cNvPr id="1060" name="Rectangle 1034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93163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1F49CE81-B2F4-47B2-9D4A-886DCE0A8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65848" y="73152"/>
            <a:ext cx="957911" cy="232963"/>
            <a:chOff x="7763256" y="73152"/>
            <a:chExt cx="1178966" cy="232963"/>
          </a:xfrm>
        </p:grpSpPr>
        <p:sp>
          <p:nvSpPr>
            <p:cNvPr id="1038" name="Rectangle 64">
              <a:extLst>
                <a:ext uri="{FF2B5EF4-FFF2-40B4-BE49-F238E27FC236}">
                  <a16:creationId xmlns:a16="http://schemas.microsoft.com/office/drawing/2014/main" id="{4BE32177-3EAD-42DA-997C-8DAE1BFEE5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tangle 66">
              <a:extLst>
                <a:ext uri="{FF2B5EF4-FFF2-40B4-BE49-F238E27FC236}">
                  <a16:creationId xmlns:a16="http://schemas.microsoft.com/office/drawing/2014/main" id="{A0DEE160-9825-4DB5-8188-911AC13EA7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tangle 64">
              <a:extLst>
                <a:ext uri="{FF2B5EF4-FFF2-40B4-BE49-F238E27FC236}">
                  <a16:creationId xmlns:a16="http://schemas.microsoft.com/office/drawing/2014/main" id="{9C5FEDB5-0AEE-40E4-9CA6-6718B956D9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tangle 66">
              <a:extLst>
                <a:ext uri="{FF2B5EF4-FFF2-40B4-BE49-F238E27FC236}">
                  <a16:creationId xmlns:a16="http://schemas.microsoft.com/office/drawing/2014/main" id="{1A11DF2D-1D4B-45DA-906B-2A1F84C99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tangle 64">
              <a:extLst>
                <a:ext uri="{FF2B5EF4-FFF2-40B4-BE49-F238E27FC236}">
                  <a16:creationId xmlns:a16="http://schemas.microsoft.com/office/drawing/2014/main" id="{B6A5BAC0-9806-4124-A584-7F924A6589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tangle 66">
              <a:extLst>
                <a:ext uri="{FF2B5EF4-FFF2-40B4-BE49-F238E27FC236}">
                  <a16:creationId xmlns:a16="http://schemas.microsoft.com/office/drawing/2014/main" id="{A8F6BFA3-38BE-4F0A-94D9-EF0E6EA01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tangle 64">
              <a:extLst>
                <a:ext uri="{FF2B5EF4-FFF2-40B4-BE49-F238E27FC236}">
                  <a16:creationId xmlns:a16="http://schemas.microsoft.com/office/drawing/2014/main" id="{BE6BCF21-959F-419E-BCA4-B20AF92EF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tangle 66">
              <a:extLst>
                <a:ext uri="{FF2B5EF4-FFF2-40B4-BE49-F238E27FC236}">
                  <a16:creationId xmlns:a16="http://schemas.microsoft.com/office/drawing/2014/main" id="{54B6E037-E222-42EB-9AEB-C45EF2090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tangle 64">
              <a:extLst>
                <a:ext uri="{FF2B5EF4-FFF2-40B4-BE49-F238E27FC236}">
                  <a16:creationId xmlns:a16="http://schemas.microsoft.com/office/drawing/2014/main" id="{A0494426-372E-42B8-87E1-170F1B5969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tangle 66">
              <a:extLst>
                <a:ext uri="{FF2B5EF4-FFF2-40B4-BE49-F238E27FC236}">
                  <a16:creationId xmlns:a16="http://schemas.microsoft.com/office/drawing/2014/main" id="{14DB5AB5-5D73-4375-8CF4-DF4B7A5D7F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tangle 64">
              <a:extLst>
                <a:ext uri="{FF2B5EF4-FFF2-40B4-BE49-F238E27FC236}">
                  <a16:creationId xmlns:a16="http://schemas.microsoft.com/office/drawing/2014/main" id="{009B2A6E-6D36-4A9A-AFAA-CF4D859147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66">
              <a:extLst>
                <a:ext uri="{FF2B5EF4-FFF2-40B4-BE49-F238E27FC236}">
                  <a16:creationId xmlns:a16="http://schemas.microsoft.com/office/drawing/2014/main" id="{85DC0718-B29F-47A6-931F-F0EF9FA99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tangle 64">
              <a:extLst>
                <a:ext uri="{FF2B5EF4-FFF2-40B4-BE49-F238E27FC236}">
                  <a16:creationId xmlns:a16="http://schemas.microsoft.com/office/drawing/2014/main" id="{AAED958D-AFCC-4BEF-818A-EFF7E41D17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tangle 66">
              <a:extLst>
                <a:ext uri="{FF2B5EF4-FFF2-40B4-BE49-F238E27FC236}">
                  <a16:creationId xmlns:a16="http://schemas.microsoft.com/office/drawing/2014/main" id="{C216DD5A-D1AE-429E-937E-456A50345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tangle 64">
              <a:extLst>
                <a:ext uri="{FF2B5EF4-FFF2-40B4-BE49-F238E27FC236}">
                  <a16:creationId xmlns:a16="http://schemas.microsoft.com/office/drawing/2014/main" id="{A845B253-9DEE-45AC-AADA-FAA6812C3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tangle 66">
              <a:extLst>
                <a:ext uri="{FF2B5EF4-FFF2-40B4-BE49-F238E27FC236}">
                  <a16:creationId xmlns:a16="http://schemas.microsoft.com/office/drawing/2014/main" id="{CE7B6CBF-757B-4B55-84CB-062B712D3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tangle 64">
              <a:extLst>
                <a:ext uri="{FF2B5EF4-FFF2-40B4-BE49-F238E27FC236}">
                  <a16:creationId xmlns:a16="http://schemas.microsoft.com/office/drawing/2014/main" id="{2CC28C7A-EF33-43D3-90CD-DCAC92546A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tangle 66">
              <a:extLst>
                <a:ext uri="{FF2B5EF4-FFF2-40B4-BE49-F238E27FC236}">
                  <a16:creationId xmlns:a16="http://schemas.microsoft.com/office/drawing/2014/main" id="{BC0C9DCF-F15B-4B7A-A16B-37B4335E6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tangle 64">
              <a:extLst>
                <a:ext uri="{FF2B5EF4-FFF2-40B4-BE49-F238E27FC236}">
                  <a16:creationId xmlns:a16="http://schemas.microsoft.com/office/drawing/2014/main" id="{94991FD1-406A-4958-87D4-8DFA9FEA4C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tangle 66">
              <a:extLst>
                <a:ext uri="{FF2B5EF4-FFF2-40B4-BE49-F238E27FC236}">
                  <a16:creationId xmlns:a16="http://schemas.microsoft.com/office/drawing/2014/main" id="{5CD32F69-27AD-4088-877C-E2A40F8B07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233984"/>
            <a:ext cx="493163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F3C958D-8E3B-97D4-859D-CED78FA57F9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581" y="5157787"/>
            <a:ext cx="1654165" cy="163762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EMENTOS BÁSICOS DEL DIBUJO TÉCNIC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FFCB35-AB35-9544-3BEE-6CD1EAAC1D15}"/>
              </a:ext>
            </a:extLst>
          </p:cNvPr>
          <p:cNvSpPr txBox="1"/>
          <p:nvPr/>
        </p:nvSpPr>
        <p:spPr>
          <a:xfrm>
            <a:off x="1879585" y="2538005"/>
            <a:ext cx="7782004" cy="400348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 fontScale="62500" lnSpcReduction="20000"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LANO</a:t>
            </a: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 plano se define como la superficie generada por una recta al girar con respecto a un eje perpendicular a ella, tiene dos dimensiones.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 nombra mediante letras minúsculas del alfabeto griego, y queda definido por:</a:t>
            </a:r>
          </a:p>
          <a:p>
            <a:pPr marL="571500" indent="-5715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s rectas que se cortan.</a:t>
            </a:r>
          </a:p>
          <a:p>
            <a:pPr marL="571500" indent="-5715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s rectas paralelas.</a:t>
            </a:r>
          </a:p>
          <a:p>
            <a:pPr marL="571500" indent="-5715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a recta y un punto.</a:t>
            </a:r>
          </a:p>
          <a:p>
            <a:pPr marL="571500" indent="-5715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es puntos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87C3753-5C3B-3C7C-733D-0F3226D6CD7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24554" y="5348062"/>
            <a:ext cx="2172345" cy="100662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EAA8AB5-FEB1-BE28-ECF2-6FFFAB7E485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1129" y="4897358"/>
            <a:ext cx="1353019" cy="1603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2942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8" name="Rectangle 1032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sp>
        <p:nvSpPr>
          <p:cNvPr id="1060" name="Rectangle 1034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93163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1F49CE81-B2F4-47B2-9D4A-886DCE0A8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65848" y="73152"/>
            <a:ext cx="957911" cy="232963"/>
            <a:chOff x="7763256" y="73152"/>
            <a:chExt cx="1178966" cy="232963"/>
          </a:xfrm>
        </p:grpSpPr>
        <p:sp>
          <p:nvSpPr>
            <p:cNvPr id="1038" name="Rectangle 64">
              <a:extLst>
                <a:ext uri="{FF2B5EF4-FFF2-40B4-BE49-F238E27FC236}">
                  <a16:creationId xmlns:a16="http://schemas.microsoft.com/office/drawing/2014/main" id="{4BE32177-3EAD-42DA-997C-8DAE1BFEE5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tangle 66">
              <a:extLst>
                <a:ext uri="{FF2B5EF4-FFF2-40B4-BE49-F238E27FC236}">
                  <a16:creationId xmlns:a16="http://schemas.microsoft.com/office/drawing/2014/main" id="{A0DEE160-9825-4DB5-8188-911AC13EA7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tangle 64">
              <a:extLst>
                <a:ext uri="{FF2B5EF4-FFF2-40B4-BE49-F238E27FC236}">
                  <a16:creationId xmlns:a16="http://schemas.microsoft.com/office/drawing/2014/main" id="{9C5FEDB5-0AEE-40E4-9CA6-6718B956D9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tangle 66">
              <a:extLst>
                <a:ext uri="{FF2B5EF4-FFF2-40B4-BE49-F238E27FC236}">
                  <a16:creationId xmlns:a16="http://schemas.microsoft.com/office/drawing/2014/main" id="{1A11DF2D-1D4B-45DA-906B-2A1F84C99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tangle 64">
              <a:extLst>
                <a:ext uri="{FF2B5EF4-FFF2-40B4-BE49-F238E27FC236}">
                  <a16:creationId xmlns:a16="http://schemas.microsoft.com/office/drawing/2014/main" id="{B6A5BAC0-9806-4124-A584-7F924A6589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tangle 66">
              <a:extLst>
                <a:ext uri="{FF2B5EF4-FFF2-40B4-BE49-F238E27FC236}">
                  <a16:creationId xmlns:a16="http://schemas.microsoft.com/office/drawing/2014/main" id="{A8F6BFA3-38BE-4F0A-94D9-EF0E6EA01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tangle 64">
              <a:extLst>
                <a:ext uri="{FF2B5EF4-FFF2-40B4-BE49-F238E27FC236}">
                  <a16:creationId xmlns:a16="http://schemas.microsoft.com/office/drawing/2014/main" id="{BE6BCF21-959F-419E-BCA4-B20AF92EF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tangle 66">
              <a:extLst>
                <a:ext uri="{FF2B5EF4-FFF2-40B4-BE49-F238E27FC236}">
                  <a16:creationId xmlns:a16="http://schemas.microsoft.com/office/drawing/2014/main" id="{54B6E037-E222-42EB-9AEB-C45EF2090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tangle 64">
              <a:extLst>
                <a:ext uri="{FF2B5EF4-FFF2-40B4-BE49-F238E27FC236}">
                  <a16:creationId xmlns:a16="http://schemas.microsoft.com/office/drawing/2014/main" id="{A0494426-372E-42B8-87E1-170F1B5969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tangle 66">
              <a:extLst>
                <a:ext uri="{FF2B5EF4-FFF2-40B4-BE49-F238E27FC236}">
                  <a16:creationId xmlns:a16="http://schemas.microsoft.com/office/drawing/2014/main" id="{14DB5AB5-5D73-4375-8CF4-DF4B7A5D7F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tangle 64">
              <a:extLst>
                <a:ext uri="{FF2B5EF4-FFF2-40B4-BE49-F238E27FC236}">
                  <a16:creationId xmlns:a16="http://schemas.microsoft.com/office/drawing/2014/main" id="{009B2A6E-6D36-4A9A-AFAA-CF4D859147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66">
              <a:extLst>
                <a:ext uri="{FF2B5EF4-FFF2-40B4-BE49-F238E27FC236}">
                  <a16:creationId xmlns:a16="http://schemas.microsoft.com/office/drawing/2014/main" id="{85DC0718-B29F-47A6-931F-F0EF9FA99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tangle 64">
              <a:extLst>
                <a:ext uri="{FF2B5EF4-FFF2-40B4-BE49-F238E27FC236}">
                  <a16:creationId xmlns:a16="http://schemas.microsoft.com/office/drawing/2014/main" id="{AAED958D-AFCC-4BEF-818A-EFF7E41D17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tangle 66">
              <a:extLst>
                <a:ext uri="{FF2B5EF4-FFF2-40B4-BE49-F238E27FC236}">
                  <a16:creationId xmlns:a16="http://schemas.microsoft.com/office/drawing/2014/main" id="{C216DD5A-D1AE-429E-937E-456A50345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tangle 64">
              <a:extLst>
                <a:ext uri="{FF2B5EF4-FFF2-40B4-BE49-F238E27FC236}">
                  <a16:creationId xmlns:a16="http://schemas.microsoft.com/office/drawing/2014/main" id="{A845B253-9DEE-45AC-AADA-FAA6812C3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tangle 66">
              <a:extLst>
                <a:ext uri="{FF2B5EF4-FFF2-40B4-BE49-F238E27FC236}">
                  <a16:creationId xmlns:a16="http://schemas.microsoft.com/office/drawing/2014/main" id="{CE7B6CBF-757B-4B55-84CB-062B712D3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tangle 64">
              <a:extLst>
                <a:ext uri="{FF2B5EF4-FFF2-40B4-BE49-F238E27FC236}">
                  <a16:creationId xmlns:a16="http://schemas.microsoft.com/office/drawing/2014/main" id="{2CC28C7A-EF33-43D3-90CD-DCAC92546A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tangle 66">
              <a:extLst>
                <a:ext uri="{FF2B5EF4-FFF2-40B4-BE49-F238E27FC236}">
                  <a16:creationId xmlns:a16="http://schemas.microsoft.com/office/drawing/2014/main" id="{BC0C9DCF-F15B-4B7A-A16B-37B4335E6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tangle 64">
              <a:extLst>
                <a:ext uri="{FF2B5EF4-FFF2-40B4-BE49-F238E27FC236}">
                  <a16:creationId xmlns:a16="http://schemas.microsoft.com/office/drawing/2014/main" id="{94991FD1-406A-4958-87D4-8DFA9FEA4C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tangle 66">
              <a:extLst>
                <a:ext uri="{FF2B5EF4-FFF2-40B4-BE49-F238E27FC236}">
                  <a16:creationId xmlns:a16="http://schemas.microsoft.com/office/drawing/2014/main" id="{5CD32F69-27AD-4088-877C-E2A40F8B07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233984"/>
            <a:ext cx="493163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F3C958D-8E3B-97D4-859D-CED78FA57F9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581" y="5157787"/>
            <a:ext cx="1654165" cy="163762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EMENTOS BÁSICOS DEL DIBUJO TÉCNIC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FFCB35-AB35-9544-3BEE-6CD1EAAC1D15}"/>
              </a:ext>
            </a:extLst>
          </p:cNvPr>
          <p:cNvSpPr txBox="1"/>
          <p:nvPr/>
        </p:nvSpPr>
        <p:spPr>
          <a:xfrm>
            <a:off x="1879585" y="2538005"/>
            <a:ext cx="7782004" cy="400348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 fontScale="62500" lnSpcReduction="20000"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LANO</a:t>
            </a: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 plano se define como la superficie generada por una recta al girar con respecto a un eje perpendicular a ella, tiene dos dimensiones.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 nombra mediante letras minúsculas del alfabeto griego, y queda definido por:</a:t>
            </a:r>
          </a:p>
          <a:p>
            <a:pPr marL="571500" indent="-5715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s rectas que se cortan.</a:t>
            </a:r>
          </a:p>
          <a:p>
            <a:pPr marL="571500" indent="-5715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s rectas paralelas.</a:t>
            </a:r>
          </a:p>
          <a:p>
            <a:pPr marL="571500" indent="-5715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a recta y un punto.</a:t>
            </a:r>
          </a:p>
          <a:p>
            <a:pPr marL="571500" indent="-5715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es puntos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87C3753-5C3B-3C7C-733D-0F3226D6CD7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24554" y="5348062"/>
            <a:ext cx="2172345" cy="100662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EAA8AB5-FEB1-BE28-ECF2-6FFFAB7E485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1129" y="4897358"/>
            <a:ext cx="1353019" cy="1603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96937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STRUMENTOS EN EL DIBUJO TÉCNIC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21585C5-C1C3-372E-E051-409572651F8A}"/>
              </a:ext>
            </a:extLst>
          </p:cNvPr>
          <p:cNvSpPr txBox="1"/>
          <p:nvPr/>
        </p:nvSpPr>
        <p:spPr>
          <a:xfrm>
            <a:off x="1168901" y="2383027"/>
            <a:ext cx="7782004" cy="415846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 fontScale="92500" lnSpcReduction="20000"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áminas normalizadas de papel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isten varias normas para los formatos de papel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 más usada en nuestro medio es el estándar de la norma DIN (Instituto Alemán de Normalización) y acogidos por la ISO 216 (Organización Internacional para la Estandarización</a:t>
            </a:r>
            <a:r>
              <a:rPr lang="es-MX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.</a:t>
            </a:r>
          </a:p>
        </p:txBody>
      </p:sp>
    </p:spTree>
    <p:extLst>
      <p:ext uri="{BB962C8B-B14F-4D97-AF65-F5344CB8AC3E}">
        <p14:creationId xmlns:p14="http://schemas.microsoft.com/office/powerpoint/2010/main" val="37616406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F3C958D-8E3B-97D4-859D-CED78FA57F9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63" y="4582589"/>
            <a:ext cx="1767091" cy="174942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É ES EL DIBUJO TÉCNICO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0F7C65-DA8B-2A66-5C5B-B5A2E95C8967}"/>
              </a:ext>
            </a:extLst>
          </p:cNvPr>
          <p:cNvSpPr txBox="1"/>
          <p:nvPr/>
        </p:nvSpPr>
        <p:spPr>
          <a:xfrm>
            <a:off x="1609725" y="3429000"/>
            <a:ext cx="8047102" cy="297286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 fontScale="92500" lnSpcReduction="10000"/>
          </a:bodyPr>
          <a:lstStyle/>
          <a:p>
            <a:pPr algn="l" fontAlgn="base"/>
            <a:r>
              <a:rPr lang="es-MX" sz="3600" b="0" i="0" dirty="0">
                <a:solidFill>
                  <a:srgbClr val="555555"/>
                </a:solidFill>
                <a:effectLst/>
                <a:latin typeface="Helvetica" panose="020B0604020202020204" pitchFamily="34" charset="0"/>
              </a:rPr>
              <a:t>Un </a:t>
            </a:r>
            <a:r>
              <a:rPr lang="es-MX" sz="3600" b="1" i="0" dirty="0">
                <a:solidFill>
                  <a:srgbClr val="555555"/>
                </a:solidFill>
                <a:effectLst/>
                <a:latin typeface="Helvetica" panose="020B0604020202020204" pitchFamily="34" charset="0"/>
              </a:rPr>
              <a:t>dibujo</a:t>
            </a:r>
            <a:r>
              <a:rPr lang="es-MX" sz="3600" b="0" i="0" dirty="0">
                <a:solidFill>
                  <a:srgbClr val="555555"/>
                </a:solidFill>
                <a:effectLst/>
                <a:latin typeface="Helvetica" panose="020B0604020202020204" pitchFamily="34" charset="0"/>
              </a:rPr>
              <a:t> es:</a:t>
            </a:r>
          </a:p>
          <a:p>
            <a:pPr algn="l" fontAlgn="base"/>
            <a:endParaRPr lang="es-MX" sz="3600" dirty="0">
              <a:solidFill>
                <a:srgbClr val="555555"/>
              </a:solidFill>
              <a:latin typeface="Helvetica" panose="020B0604020202020204" pitchFamily="34" charset="0"/>
            </a:endParaRPr>
          </a:p>
          <a:p>
            <a:pPr algn="l" fontAlgn="base"/>
            <a:r>
              <a:rPr lang="es-MX" sz="3600" dirty="0">
                <a:solidFill>
                  <a:srgbClr val="555555"/>
                </a:solidFill>
                <a:latin typeface="Helvetica" panose="020B0604020202020204" pitchFamily="34" charset="0"/>
              </a:rPr>
              <a:t>Una figura, imagen o delineación que se suele hacer manualmente con ayuda de alguna herramienta (un lápiz, un pincel) sobre distintos materiales. </a:t>
            </a:r>
          </a:p>
          <a:p>
            <a:pPr algn="l" fontAlgn="base"/>
            <a:endParaRPr lang="es-MX" sz="3600" dirty="0">
              <a:solidFill>
                <a:srgbClr val="555555"/>
              </a:solidFill>
              <a:latin typeface="Helvetica" panose="020B0604020202020204" pitchFamily="34" charset="0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es-EC" sz="3600" dirty="0">
              <a:solidFill>
                <a:srgbClr val="004083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</p:spTree>
    <p:extLst>
      <p:ext uri="{BB962C8B-B14F-4D97-AF65-F5344CB8AC3E}">
        <p14:creationId xmlns:p14="http://schemas.microsoft.com/office/powerpoint/2010/main" val="32552153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STRUMENTOS EN EL DIBUJO TÉCNIC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21585C5-C1C3-372E-E051-409572651F8A}"/>
              </a:ext>
            </a:extLst>
          </p:cNvPr>
          <p:cNvSpPr txBox="1"/>
          <p:nvPr/>
        </p:nvSpPr>
        <p:spPr>
          <a:xfrm>
            <a:off x="1168901" y="2383027"/>
            <a:ext cx="7782004" cy="415846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 fontScale="70000" lnSpcReduction="20000"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s medidas DIN están divididas en 5 series: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, B, C, D y E y cada serie contiene varios tamaños numerados: 0, 1, 2, 3.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 serie A es la más usada.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 formato DIN A0, es el formato referente; cuya superficie mide 1 metro cuadrado y la relación entre las longitudes de los lados vale uno frente a la raíz cuadrada de 2 (1:√2).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s sucesivas divisiones a la mitad de este formato forman los distintos </a:t>
            </a:r>
            <a:r>
              <a:rPr lang="es-MX" sz="3600" dirty="0" err="1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bformatos</a:t>
            </a: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 la serie</a:t>
            </a:r>
            <a:endParaRPr lang="es-MX" sz="3600" b="1" dirty="0">
              <a:solidFill>
                <a:srgbClr val="004083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117898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192504" y="1815695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211756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240631" y="3699011"/>
            <a:ext cx="4143676" cy="262959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STRUMENTOS EN EL DIBUJO TÉCNIC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130801" y="2434389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9308455-30E8-E234-660A-400E07DD586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9390" y="-78998"/>
            <a:ext cx="54517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66288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STRUMENTOS EN EL DIBUJO TÉCNIC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21585C5-C1C3-372E-E051-409572651F8A}"/>
              </a:ext>
            </a:extLst>
          </p:cNvPr>
          <p:cNvSpPr txBox="1"/>
          <p:nvPr/>
        </p:nvSpPr>
        <p:spPr>
          <a:xfrm>
            <a:off x="1168901" y="2383027"/>
            <a:ext cx="7782004" cy="415846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 fontScale="70000" lnSpcReduction="20000"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s lápices y el portaminas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 el dibujo técnico lo más importante es la claridad y la precisión de la línea (fina y continua).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isten distintas durezas de minas de lápiz que se usan para para resaltar o dar menos énfasis a las distintas partes del dibujo.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uchos lápices en el mundo, se clasifican con el </a:t>
            </a:r>
            <a:r>
              <a:rPr lang="es-MX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stema europeo </a:t>
            </a: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 usa una graduación continua descrita por "H" (para la dureza) y "B" (para el grado de oscuridad), así como "F" (para el grado de finura).</a:t>
            </a:r>
          </a:p>
        </p:txBody>
      </p:sp>
    </p:spTree>
    <p:extLst>
      <p:ext uri="{BB962C8B-B14F-4D97-AF65-F5344CB8AC3E}">
        <p14:creationId xmlns:p14="http://schemas.microsoft.com/office/powerpoint/2010/main" val="9606203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STRUMENTOS EN EL DIBUJO TÉCNIC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21585C5-C1C3-372E-E051-409572651F8A}"/>
              </a:ext>
            </a:extLst>
          </p:cNvPr>
          <p:cNvSpPr txBox="1"/>
          <p:nvPr/>
        </p:nvSpPr>
        <p:spPr>
          <a:xfrm>
            <a:off x="1168901" y="2383027"/>
            <a:ext cx="7782004" cy="415846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 fontScale="77500" lnSpcReduction="20000"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 lápiz estándar para escritura es el </a:t>
            </a:r>
            <a:r>
              <a:rPr lang="es-MX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B</a:t>
            </a: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 grado de un lápiz se describió por una secuencia de H sucesivas y B sucesivas, tal como BB o BBB para minas cada vez más suaves, y HH o HHH para minas cada vez más duras.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y en día, el sistema de clasificación de lápices se extiende desde muy duro con trazo fino y claro, hasta blando de trazo grueso y oscuro.</a:t>
            </a:r>
          </a:p>
        </p:txBody>
      </p:sp>
    </p:spTree>
    <p:extLst>
      <p:ext uri="{BB962C8B-B14F-4D97-AF65-F5344CB8AC3E}">
        <p14:creationId xmlns:p14="http://schemas.microsoft.com/office/powerpoint/2010/main" val="286131827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STRUMENTOS EN EL DIBUJO TÉCNIC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4D3C567-E653-F82F-E835-A96B295774C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7625" y="2595037"/>
            <a:ext cx="9906000" cy="1391702"/>
          </a:xfrm>
          <a:prstGeom prst="rect">
            <a:avLst/>
          </a:prstGeom>
        </p:spPr>
      </p:pic>
      <p:pic>
        <p:nvPicPr>
          <p:cNvPr id="6146" name="Picture 2" descr="Tipos de lápices de dibujo - Arte y Cultura">
            <a:extLst>
              <a:ext uri="{FF2B5EF4-FFF2-40B4-BE49-F238E27FC236}">
                <a16:creationId xmlns:a16="http://schemas.microsoft.com/office/drawing/2014/main" id="{F79E3493-6323-016C-3358-EEB12F8DBA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538" y="4314857"/>
            <a:ext cx="9748837" cy="2508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658232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STRUMENTOS EN EL DIBUJO TÉCNIC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pic>
        <p:nvPicPr>
          <p:cNvPr id="7170" name="Picture 2" descr="Lápices para dibujar ¿cómo elegirlos y usarlos? – Arte Feed">
            <a:extLst>
              <a:ext uri="{FF2B5EF4-FFF2-40B4-BE49-F238E27FC236}">
                <a16:creationId xmlns:a16="http://schemas.microsoft.com/office/drawing/2014/main" id="{18BA086A-628D-891D-0D0E-96585464B7E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47874" y="2460121"/>
            <a:ext cx="7992929" cy="4228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451993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STRUMENTOS EN EL DIBUJO TÉCNIC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21585C5-C1C3-372E-E051-409572651F8A}"/>
              </a:ext>
            </a:extLst>
          </p:cNvPr>
          <p:cNvSpPr txBox="1"/>
          <p:nvPr/>
        </p:nvSpPr>
        <p:spPr>
          <a:xfrm>
            <a:off x="1168901" y="2383027"/>
            <a:ext cx="7782004" cy="415846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 fontScale="70000" lnSpcReduction="20000"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 tablero de dibujo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 tablero es el soporte sobre el que colocamos los papeles, su superficie debe ser lisa, plana e indeformable. Sus dimensiones deben estar adaptadas al formato del papel en el que dibujamos.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s tableros suelen ser mesas fijas inclinadas u horizontales; o bien tablas más pequeñas, fácilmente transportables y que se puedan colocar encima de cualquier mesa de trabajo.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bre el papel de dibujo podemos colocar una serie de útiles que nos facilitarán el trazado</a:t>
            </a:r>
          </a:p>
        </p:txBody>
      </p:sp>
    </p:spTree>
    <p:extLst>
      <p:ext uri="{BB962C8B-B14F-4D97-AF65-F5344CB8AC3E}">
        <p14:creationId xmlns:p14="http://schemas.microsoft.com/office/powerpoint/2010/main" val="217530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STRUMENTOS EN EL DIBUJO TÉCNIC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8B1A8AE-FF18-603B-92EB-F352017D67D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7176" y="2644563"/>
            <a:ext cx="3309702" cy="2154970"/>
          </a:xfrm>
          <a:prstGeom prst="rect">
            <a:avLst/>
          </a:prstGeom>
        </p:spPr>
      </p:pic>
      <p:pic>
        <p:nvPicPr>
          <p:cNvPr id="2050" name="Picture 2" descr="✓ Tablero De Dibujo Técnico A3 Y A4 De Madera - Mi Papelería Ec, Tienda  Online A Domicilio">
            <a:extLst>
              <a:ext uri="{FF2B5EF4-FFF2-40B4-BE49-F238E27FC236}">
                <a16:creationId xmlns:a16="http://schemas.microsoft.com/office/drawing/2014/main" id="{0F718F6B-C58F-42BE-2743-52BBEAE93B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30593" y="2256708"/>
            <a:ext cx="3443867" cy="2757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▷ TABLERO DE DIBUJO TECNICO A4 - Megaventas MCM 🔵◁">
            <a:extLst>
              <a:ext uri="{FF2B5EF4-FFF2-40B4-BE49-F238E27FC236}">
                <a16:creationId xmlns:a16="http://schemas.microsoft.com/office/drawing/2014/main" id="{B1216E99-6C7B-2667-640E-E6E0AD800F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953251" y="2383026"/>
            <a:ext cx="2143125" cy="1781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Tableros de dibujo técnico Rotring, Faber y Staedtler">
            <a:extLst>
              <a:ext uri="{FF2B5EF4-FFF2-40B4-BE49-F238E27FC236}">
                <a16:creationId xmlns:a16="http://schemas.microsoft.com/office/drawing/2014/main" id="{413AF641-A7AB-60C3-573C-FD7AA84D52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93217" y="4884278"/>
            <a:ext cx="2505075" cy="1819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✏️ ¿Cuáles son las herramientas de dibujo técnico básicas?">
            <a:extLst>
              <a:ext uri="{FF2B5EF4-FFF2-40B4-BE49-F238E27FC236}">
                <a16:creationId xmlns:a16="http://schemas.microsoft.com/office/drawing/2014/main" id="{BA218DC3-7FA9-948B-1B6E-C822E86BA1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63300" y="4266154"/>
            <a:ext cx="2785487" cy="2481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Mesas de dibujo | STAEDTLER">
            <a:extLst>
              <a:ext uri="{FF2B5EF4-FFF2-40B4-BE49-F238E27FC236}">
                <a16:creationId xmlns:a16="http://schemas.microsoft.com/office/drawing/2014/main" id="{C3611E50-12B5-6A9F-1F73-2997EFE305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0077" y="4908090"/>
            <a:ext cx="2581275" cy="1771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509933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8" name="Rectangle 1032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sp>
        <p:nvSpPr>
          <p:cNvPr id="1060" name="Rectangle 1034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93163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1F49CE81-B2F4-47B2-9D4A-886DCE0A8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65848" y="73152"/>
            <a:ext cx="957911" cy="232963"/>
            <a:chOff x="7763256" y="73152"/>
            <a:chExt cx="1178966" cy="232963"/>
          </a:xfrm>
        </p:grpSpPr>
        <p:sp>
          <p:nvSpPr>
            <p:cNvPr id="1038" name="Rectangle 64">
              <a:extLst>
                <a:ext uri="{FF2B5EF4-FFF2-40B4-BE49-F238E27FC236}">
                  <a16:creationId xmlns:a16="http://schemas.microsoft.com/office/drawing/2014/main" id="{4BE32177-3EAD-42DA-997C-8DAE1BFEE5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tangle 66">
              <a:extLst>
                <a:ext uri="{FF2B5EF4-FFF2-40B4-BE49-F238E27FC236}">
                  <a16:creationId xmlns:a16="http://schemas.microsoft.com/office/drawing/2014/main" id="{A0DEE160-9825-4DB5-8188-911AC13EA7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tangle 64">
              <a:extLst>
                <a:ext uri="{FF2B5EF4-FFF2-40B4-BE49-F238E27FC236}">
                  <a16:creationId xmlns:a16="http://schemas.microsoft.com/office/drawing/2014/main" id="{9C5FEDB5-0AEE-40E4-9CA6-6718B956D9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tangle 66">
              <a:extLst>
                <a:ext uri="{FF2B5EF4-FFF2-40B4-BE49-F238E27FC236}">
                  <a16:creationId xmlns:a16="http://schemas.microsoft.com/office/drawing/2014/main" id="{1A11DF2D-1D4B-45DA-906B-2A1F84C99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tangle 64">
              <a:extLst>
                <a:ext uri="{FF2B5EF4-FFF2-40B4-BE49-F238E27FC236}">
                  <a16:creationId xmlns:a16="http://schemas.microsoft.com/office/drawing/2014/main" id="{B6A5BAC0-9806-4124-A584-7F924A6589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tangle 66">
              <a:extLst>
                <a:ext uri="{FF2B5EF4-FFF2-40B4-BE49-F238E27FC236}">
                  <a16:creationId xmlns:a16="http://schemas.microsoft.com/office/drawing/2014/main" id="{A8F6BFA3-38BE-4F0A-94D9-EF0E6EA01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tangle 64">
              <a:extLst>
                <a:ext uri="{FF2B5EF4-FFF2-40B4-BE49-F238E27FC236}">
                  <a16:creationId xmlns:a16="http://schemas.microsoft.com/office/drawing/2014/main" id="{BE6BCF21-959F-419E-BCA4-B20AF92EF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tangle 66">
              <a:extLst>
                <a:ext uri="{FF2B5EF4-FFF2-40B4-BE49-F238E27FC236}">
                  <a16:creationId xmlns:a16="http://schemas.microsoft.com/office/drawing/2014/main" id="{54B6E037-E222-42EB-9AEB-C45EF2090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tangle 64">
              <a:extLst>
                <a:ext uri="{FF2B5EF4-FFF2-40B4-BE49-F238E27FC236}">
                  <a16:creationId xmlns:a16="http://schemas.microsoft.com/office/drawing/2014/main" id="{A0494426-372E-42B8-87E1-170F1B5969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tangle 66">
              <a:extLst>
                <a:ext uri="{FF2B5EF4-FFF2-40B4-BE49-F238E27FC236}">
                  <a16:creationId xmlns:a16="http://schemas.microsoft.com/office/drawing/2014/main" id="{14DB5AB5-5D73-4375-8CF4-DF4B7A5D7F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tangle 64">
              <a:extLst>
                <a:ext uri="{FF2B5EF4-FFF2-40B4-BE49-F238E27FC236}">
                  <a16:creationId xmlns:a16="http://schemas.microsoft.com/office/drawing/2014/main" id="{009B2A6E-6D36-4A9A-AFAA-CF4D859147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66">
              <a:extLst>
                <a:ext uri="{FF2B5EF4-FFF2-40B4-BE49-F238E27FC236}">
                  <a16:creationId xmlns:a16="http://schemas.microsoft.com/office/drawing/2014/main" id="{85DC0718-B29F-47A6-931F-F0EF9FA99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tangle 64">
              <a:extLst>
                <a:ext uri="{FF2B5EF4-FFF2-40B4-BE49-F238E27FC236}">
                  <a16:creationId xmlns:a16="http://schemas.microsoft.com/office/drawing/2014/main" id="{AAED958D-AFCC-4BEF-818A-EFF7E41D17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tangle 66">
              <a:extLst>
                <a:ext uri="{FF2B5EF4-FFF2-40B4-BE49-F238E27FC236}">
                  <a16:creationId xmlns:a16="http://schemas.microsoft.com/office/drawing/2014/main" id="{C216DD5A-D1AE-429E-937E-456A50345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tangle 64">
              <a:extLst>
                <a:ext uri="{FF2B5EF4-FFF2-40B4-BE49-F238E27FC236}">
                  <a16:creationId xmlns:a16="http://schemas.microsoft.com/office/drawing/2014/main" id="{A845B253-9DEE-45AC-AADA-FAA6812C3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tangle 66">
              <a:extLst>
                <a:ext uri="{FF2B5EF4-FFF2-40B4-BE49-F238E27FC236}">
                  <a16:creationId xmlns:a16="http://schemas.microsoft.com/office/drawing/2014/main" id="{CE7B6CBF-757B-4B55-84CB-062B712D3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tangle 64">
              <a:extLst>
                <a:ext uri="{FF2B5EF4-FFF2-40B4-BE49-F238E27FC236}">
                  <a16:creationId xmlns:a16="http://schemas.microsoft.com/office/drawing/2014/main" id="{2CC28C7A-EF33-43D3-90CD-DCAC92546A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tangle 66">
              <a:extLst>
                <a:ext uri="{FF2B5EF4-FFF2-40B4-BE49-F238E27FC236}">
                  <a16:creationId xmlns:a16="http://schemas.microsoft.com/office/drawing/2014/main" id="{BC0C9DCF-F15B-4B7A-A16B-37B4335E6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tangle 64">
              <a:extLst>
                <a:ext uri="{FF2B5EF4-FFF2-40B4-BE49-F238E27FC236}">
                  <a16:creationId xmlns:a16="http://schemas.microsoft.com/office/drawing/2014/main" id="{94991FD1-406A-4958-87D4-8DFA9FEA4C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tangle 66">
              <a:extLst>
                <a:ext uri="{FF2B5EF4-FFF2-40B4-BE49-F238E27FC236}">
                  <a16:creationId xmlns:a16="http://schemas.microsoft.com/office/drawing/2014/main" id="{5CD32F69-27AD-4088-877C-E2A40F8B07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233984"/>
            <a:ext cx="493163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STRUMENTOS EN EL DIBUJO TÉCNIC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21585C5-C1C3-372E-E051-409572651F8A}"/>
              </a:ext>
            </a:extLst>
          </p:cNvPr>
          <p:cNvSpPr txBox="1"/>
          <p:nvPr/>
        </p:nvSpPr>
        <p:spPr>
          <a:xfrm>
            <a:off x="1168901" y="2538005"/>
            <a:ext cx="7782004" cy="400348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 fontScale="92500" lnSpcReduction="10000"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 regla “T”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 Regla “T” es una hoja con una cabeza perpendicular pegada en uno de sus extremos.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Las dos partes de la regla T deben estar rígidamente sujetas una con la otra en un ángulo recto (90°).</a:t>
            </a:r>
          </a:p>
        </p:txBody>
      </p:sp>
    </p:spTree>
    <p:extLst>
      <p:ext uri="{BB962C8B-B14F-4D97-AF65-F5344CB8AC3E}">
        <p14:creationId xmlns:p14="http://schemas.microsoft.com/office/powerpoint/2010/main" val="223364809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8" name="Rectangle 1032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sp>
        <p:nvSpPr>
          <p:cNvPr id="1060" name="Rectangle 1034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93163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1F49CE81-B2F4-47B2-9D4A-886DCE0A8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65848" y="73152"/>
            <a:ext cx="957911" cy="232963"/>
            <a:chOff x="7763256" y="73152"/>
            <a:chExt cx="1178966" cy="232963"/>
          </a:xfrm>
        </p:grpSpPr>
        <p:sp>
          <p:nvSpPr>
            <p:cNvPr id="1038" name="Rectangle 64">
              <a:extLst>
                <a:ext uri="{FF2B5EF4-FFF2-40B4-BE49-F238E27FC236}">
                  <a16:creationId xmlns:a16="http://schemas.microsoft.com/office/drawing/2014/main" id="{4BE32177-3EAD-42DA-997C-8DAE1BFEE5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tangle 66">
              <a:extLst>
                <a:ext uri="{FF2B5EF4-FFF2-40B4-BE49-F238E27FC236}">
                  <a16:creationId xmlns:a16="http://schemas.microsoft.com/office/drawing/2014/main" id="{A0DEE160-9825-4DB5-8188-911AC13EA7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tangle 64">
              <a:extLst>
                <a:ext uri="{FF2B5EF4-FFF2-40B4-BE49-F238E27FC236}">
                  <a16:creationId xmlns:a16="http://schemas.microsoft.com/office/drawing/2014/main" id="{9C5FEDB5-0AEE-40E4-9CA6-6718B956D9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tangle 66">
              <a:extLst>
                <a:ext uri="{FF2B5EF4-FFF2-40B4-BE49-F238E27FC236}">
                  <a16:creationId xmlns:a16="http://schemas.microsoft.com/office/drawing/2014/main" id="{1A11DF2D-1D4B-45DA-906B-2A1F84C99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tangle 64">
              <a:extLst>
                <a:ext uri="{FF2B5EF4-FFF2-40B4-BE49-F238E27FC236}">
                  <a16:creationId xmlns:a16="http://schemas.microsoft.com/office/drawing/2014/main" id="{B6A5BAC0-9806-4124-A584-7F924A6589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tangle 66">
              <a:extLst>
                <a:ext uri="{FF2B5EF4-FFF2-40B4-BE49-F238E27FC236}">
                  <a16:creationId xmlns:a16="http://schemas.microsoft.com/office/drawing/2014/main" id="{A8F6BFA3-38BE-4F0A-94D9-EF0E6EA01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tangle 64">
              <a:extLst>
                <a:ext uri="{FF2B5EF4-FFF2-40B4-BE49-F238E27FC236}">
                  <a16:creationId xmlns:a16="http://schemas.microsoft.com/office/drawing/2014/main" id="{BE6BCF21-959F-419E-BCA4-B20AF92EF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tangle 66">
              <a:extLst>
                <a:ext uri="{FF2B5EF4-FFF2-40B4-BE49-F238E27FC236}">
                  <a16:creationId xmlns:a16="http://schemas.microsoft.com/office/drawing/2014/main" id="{54B6E037-E222-42EB-9AEB-C45EF2090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tangle 64">
              <a:extLst>
                <a:ext uri="{FF2B5EF4-FFF2-40B4-BE49-F238E27FC236}">
                  <a16:creationId xmlns:a16="http://schemas.microsoft.com/office/drawing/2014/main" id="{A0494426-372E-42B8-87E1-170F1B5969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tangle 66">
              <a:extLst>
                <a:ext uri="{FF2B5EF4-FFF2-40B4-BE49-F238E27FC236}">
                  <a16:creationId xmlns:a16="http://schemas.microsoft.com/office/drawing/2014/main" id="{14DB5AB5-5D73-4375-8CF4-DF4B7A5D7F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tangle 64">
              <a:extLst>
                <a:ext uri="{FF2B5EF4-FFF2-40B4-BE49-F238E27FC236}">
                  <a16:creationId xmlns:a16="http://schemas.microsoft.com/office/drawing/2014/main" id="{009B2A6E-6D36-4A9A-AFAA-CF4D859147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66">
              <a:extLst>
                <a:ext uri="{FF2B5EF4-FFF2-40B4-BE49-F238E27FC236}">
                  <a16:creationId xmlns:a16="http://schemas.microsoft.com/office/drawing/2014/main" id="{85DC0718-B29F-47A6-931F-F0EF9FA99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tangle 64">
              <a:extLst>
                <a:ext uri="{FF2B5EF4-FFF2-40B4-BE49-F238E27FC236}">
                  <a16:creationId xmlns:a16="http://schemas.microsoft.com/office/drawing/2014/main" id="{AAED958D-AFCC-4BEF-818A-EFF7E41D17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tangle 66">
              <a:extLst>
                <a:ext uri="{FF2B5EF4-FFF2-40B4-BE49-F238E27FC236}">
                  <a16:creationId xmlns:a16="http://schemas.microsoft.com/office/drawing/2014/main" id="{C216DD5A-D1AE-429E-937E-456A50345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tangle 64">
              <a:extLst>
                <a:ext uri="{FF2B5EF4-FFF2-40B4-BE49-F238E27FC236}">
                  <a16:creationId xmlns:a16="http://schemas.microsoft.com/office/drawing/2014/main" id="{A845B253-9DEE-45AC-AADA-FAA6812C3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tangle 66">
              <a:extLst>
                <a:ext uri="{FF2B5EF4-FFF2-40B4-BE49-F238E27FC236}">
                  <a16:creationId xmlns:a16="http://schemas.microsoft.com/office/drawing/2014/main" id="{CE7B6CBF-757B-4B55-84CB-062B712D3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tangle 64">
              <a:extLst>
                <a:ext uri="{FF2B5EF4-FFF2-40B4-BE49-F238E27FC236}">
                  <a16:creationId xmlns:a16="http://schemas.microsoft.com/office/drawing/2014/main" id="{2CC28C7A-EF33-43D3-90CD-DCAC92546A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tangle 66">
              <a:extLst>
                <a:ext uri="{FF2B5EF4-FFF2-40B4-BE49-F238E27FC236}">
                  <a16:creationId xmlns:a16="http://schemas.microsoft.com/office/drawing/2014/main" id="{BC0C9DCF-F15B-4B7A-A16B-37B4335E6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tangle 64">
              <a:extLst>
                <a:ext uri="{FF2B5EF4-FFF2-40B4-BE49-F238E27FC236}">
                  <a16:creationId xmlns:a16="http://schemas.microsoft.com/office/drawing/2014/main" id="{94991FD1-406A-4958-87D4-8DFA9FEA4C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tangle 66">
              <a:extLst>
                <a:ext uri="{FF2B5EF4-FFF2-40B4-BE49-F238E27FC236}">
                  <a16:creationId xmlns:a16="http://schemas.microsoft.com/office/drawing/2014/main" id="{5CD32F69-27AD-4088-877C-E2A40F8B07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233984"/>
            <a:ext cx="493163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STRUMENTOS EN EL DIBUJO TÉCNIC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21585C5-C1C3-372E-E051-409572651F8A}"/>
              </a:ext>
            </a:extLst>
          </p:cNvPr>
          <p:cNvSpPr txBox="1"/>
          <p:nvPr/>
        </p:nvSpPr>
        <p:spPr>
          <a:xfrm>
            <a:off x="1168901" y="2538005"/>
            <a:ext cx="7782004" cy="400348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 regla “T”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 Regla “T” es una hoja con una cabeza perpendicular pegada en uno de sus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tremos, esta cabeza puede ser fija o movible, en este libro nos ocuparemos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 la de cabeza fija. </a:t>
            </a:r>
          </a:p>
        </p:txBody>
      </p:sp>
    </p:spTree>
    <p:extLst>
      <p:ext uri="{BB962C8B-B14F-4D97-AF65-F5344CB8AC3E}">
        <p14:creationId xmlns:p14="http://schemas.microsoft.com/office/powerpoint/2010/main" val="33443772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8" name="Rectangle 1032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sp>
        <p:nvSpPr>
          <p:cNvPr id="1060" name="Rectangle 1034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93163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1F49CE81-B2F4-47B2-9D4A-886DCE0A8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65848" y="73152"/>
            <a:ext cx="957911" cy="232963"/>
            <a:chOff x="7763256" y="73152"/>
            <a:chExt cx="1178966" cy="232963"/>
          </a:xfrm>
        </p:grpSpPr>
        <p:sp>
          <p:nvSpPr>
            <p:cNvPr id="1038" name="Rectangle 64">
              <a:extLst>
                <a:ext uri="{FF2B5EF4-FFF2-40B4-BE49-F238E27FC236}">
                  <a16:creationId xmlns:a16="http://schemas.microsoft.com/office/drawing/2014/main" id="{4BE32177-3EAD-42DA-997C-8DAE1BFEE5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tangle 66">
              <a:extLst>
                <a:ext uri="{FF2B5EF4-FFF2-40B4-BE49-F238E27FC236}">
                  <a16:creationId xmlns:a16="http://schemas.microsoft.com/office/drawing/2014/main" id="{A0DEE160-9825-4DB5-8188-911AC13EA7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tangle 64">
              <a:extLst>
                <a:ext uri="{FF2B5EF4-FFF2-40B4-BE49-F238E27FC236}">
                  <a16:creationId xmlns:a16="http://schemas.microsoft.com/office/drawing/2014/main" id="{9C5FEDB5-0AEE-40E4-9CA6-6718B956D9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tangle 66">
              <a:extLst>
                <a:ext uri="{FF2B5EF4-FFF2-40B4-BE49-F238E27FC236}">
                  <a16:creationId xmlns:a16="http://schemas.microsoft.com/office/drawing/2014/main" id="{1A11DF2D-1D4B-45DA-906B-2A1F84C99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tangle 64">
              <a:extLst>
                <a:ext uri="{FF2B5EF4-FFF2-40B4-BE49-F238E27FC236}">
                  <a16:creationId xmlns:a16="http://schemas.microsoft.com/office/drawing/2014/main" id="{B6A5BAC0-9806-4124-A584-7F924A6589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tangle 66">
              <a:extLst>
                <a:ext uri="{FF2B5EF4-FFF2-40B4-BE49-F238E27FC236}">
                  <a16:creationId xmlns:a16="http://schemas.microsoft.com/office/drawing/2014/main" id="{A8F6BFA3-38BE-4F0A-94D9-EF0E6EA01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tangle 64">
              <a:extLst>
                <a:ext uri="{FF2B5EF4-FFF2-40B4-BE49-F238E27FC236}">
                  <a16:creationId xmlns:a16="http://schemas.microsoft.com/office/drawing/2014/main" id="{BE6BCF21-959F-419E-BCA4-B20AF92EF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tangle 66">
              <a:extLst>
                <a:ext uri="{FF2B5EF4-FFF2-40B4-BE49-F238E27FC236}">
                  <a16:creationId xmlns:a16="http://schemas.microsoft.com/office/drawing/2014/main" id="{54B6E037-E222-42EB-9AEB-C45EF2090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tangle 64">
              <a:extLst>
                <a:ext uri="{FF2B5EF4-FFF2-40B4-BE49-F238E27FC236}">
                  <a16:creationId xmlns:a16="http://schemas.microsoft.com/office/drawing/2014/main" id="{A0494426-372E-42B8-87E1-170F1B5969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tangle 66">
              <a:extLst>
                <a:ext uri="{FF2B5EF4-FFF2-40B4-BE49-F238E27FC236}">
                  <a16:creationId xmlns:a16="http://schemas.microsoft.com/office/drawing/2014/main" id="{14DB5AB5-5D73-4375-8CF4-DF4B7A5D7F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tangle 64">
              <a:extLst>
                <a:ext uri="{FF2B5EF4-FFF2-40B4-BE49-F238E27FC236}">
                  <a16:creationId xmlns:a16="http://schemas.microsoft.com/office/drawing/2014/main" id="{009B2A6E-6D36-4A9A-AFAA-CF4D859147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66">
              <a:extLst>
                <a:ext uri="{FF2B5EF4-FFF2-40B4-BE49-F238E27FC236}">
                  <a16:creationId xmlns:a16="http://schemas.microsoft.com/office/drawing/2014/main" id="{85DC0718-B29F-47A6-931F-F0EF9FA99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tangle 64">
              <a:extLst>
                <a:ext uri="{FF2B5EF4-FFF2-40B4-BE49-F238E27FC236}">
                  <a16:creationId xmlns:a16="http://schemas.microsoft.com/office/drawing/2014/main" id="{AAED958D-AFCC-4BEF-818A-EFF7E41D17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tangle 66">
              <a:extLst>
                <a:ext uri="{FF2B5EF4-FFF2-40B4-BE49-F238E27FC236}">
                  <a16:creationId xmlns:a16="http://schemas.microsoft.com/office/drawing/2014/main" id="{C216DD5A-D1AE-429E-937E-456A50345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tangle 64">
              <a:extLst>
                <a:ext uri="{FF2B5EF4-FFF2-40B4-BE49-F238E27FC236}">
                  <a16:creationId xmlns:a16="http://schemas.microsoft.com/office/drawing/2014/main" id="{A845B253-9DEE-45AC-AADA-FAA6812C3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tangle 66">
              <a:extLst>
                <a:ext uri="{FF2B5EF4-FFF2-40B4-BE49-F238E27FC236}">
                  <a16:creationId xmlns:a16="http://schemas.microsoft.com/office/drawing/2014/main" id="{CE7B6CBF-757B-4B55-84CB-062B712D3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tangle 64">
              <a:extLst>
                <a:ext uri="{FF2B5EF4-FFF2-40B4-BE49-F238E27FC236}">
                  <a16:creationId xmlns:a16="http://schemas.microsoft.com/office/drawing/2014/main" id="{2CC28C7A-EF33-43D3-90CD-DCAC92546A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tangle 66">
              <a:extLst>
                <a:ext uri="{FF2B5EF4-FFF2-40B4-BE49-F238E27FC236}">
                  <a16:creationId xmlns:a16="http://schemas.microsoft.com/office/drawing/2014/main" id="{BC0C9DCF-F15B-4B7A-A16B-37B4335E6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tangle 64">
              <a:extLst>
                <a:ext uri="{FF2B5EF4-FFF2-40B4-BE49-F238E27FC236}">
                  <a16:creationId xmlns:a16="http://schemas.microsoft.com/office/drawing/2014/main" id="{94991FD1-406A-4958-87D4-8DFA9FEA4C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tangle 66">
              <a:extLst>
                <a:ext uri="{FF2B5EF4-FFF2-40B4-BE49-F238E27FC236}">
                  <a16:creationId xmlns:a16="http://schemas.microsoft.com/office/drawing/2014/main" id="{5CD32F69-27AD-4088-877C-E2A40F8B07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233984"/>
            <a:ext cx="493163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F3C958D-8E3B-97D4-859D-CED78FA57F9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163" y="4401614"/>
            <a:ext cx="1767091" cy="174942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14919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POS DE DIBUJ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065935A0-F02D-23FD-058C-EF5E551EDD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98180757"/>
              </p:ext>
            </p:extLst>
          </p:nvPr>
        </p:nvGraphicFramePr>
        <p:xfrm>
          <a:off x="1897581" y="2382181"/>
          <a:ext cx="6604000" cy="4402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76984276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8" name="Rectangle 1032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sp>
        <p:nvSpPr>
          <p:cNvPr id="1060" name="Rectangle 1034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93163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1F49CE81-B2F4-47B2-9D4A-886DCE0A8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65848" y="73152"/>
            <a:ext cx="957911" cy="232963"/>
            <a:chOff x="7763256" y="73152"/>
            <a:chExt cx="1178966" cy="232963"/>
          </a:xfrm>
        </p:grpSpPr>
        <p:sp>
          <p:nvSpPr>
            <p:cNvPr id="1038" name="Rectangle 64">
              <a:extLst>
                <a:ext uri="{FF2B5EF4-FFF2-40B4-BE49-F238E27FC236}">
                  <a16:creationId xmlns:a16="http://schemas.microsoft.com/office/drawing/2014/main" id="{4BE32177-3EAD-42DA-997C-8DAE1BFEE5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tangle 66">
              <a:extLst>
                <a:ext uri="{FF2B5EF4-FFF2-40B4-BE49-F238E27FC236}">
                  <a16:creationId xmlns:a16="http://schemas.microsoft.com/office/drawing/2014/main" id="{A0DEE160-9825-4DB5-8188-911AC13EA7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tangle 64">
              <a:extLst>
                <a:ext uri="{FF2B5EF4-FFF2-40B4-BE49-F238E27FC236}">
                  <a16:creationId xmlns:a16="http://schemas.microsoft.com/office/drawing/2014/main" id="{9C5FEDB5-0AEE-40E4-9CA6-6718B956D9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tangle 66">
              <a:extLst>
                <a:ext uri="{FF2B5EF4-FFF2-40B4-BE49-F238E27FC236}">
                  <a16:creationId xmlns:a16="http://schemas.microsoft.com/office/drawing/2014/main" id="{1A11DF2D-1D4B-45DA-906B-2A1F84C99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tangle 64">
              <a:extLst>
                <a:ext uri="{FF2B5EF4-FFF2-40B4-BE49-F238E27FC236}">
                  <a16:creationId xmlns:a16="http://schemas.microsoft.com/office/drawing/2014/main" id="{B6A5BAC0-9806-4124-A584-7F924A6589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tangle 66">
              <a:extLst>
                <a:ext uri="{FF2B5EF4-FFF2-40B4-BE49-F238E27FC236}">
                  <a16:creationId xmlns:a16="http://schemas.microsoft.com/office/drawing/2014/main" id="{A8F6BFA3-38BE-4F0A-94D9-EF0E6EA01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tangle 64">
              <a:extLst>
                <a:ext uri="{FF2B5EF4-FFF2-40B4-BE49-F238E27FC236}">
                  <a16:creationId xmlns:a16="http://schemas.microsoft.com/office/drawing/2014/main" id="{BE6BCF21-959F-419E-BCA4-B20AF92EF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tangle 66">
              <a:extLst>
                <a:ext uri="{FF2B5EF4-FFF2-40B4-BE49-F238E27FC236}">
                  <a16:creationId xmlns:a16="http://schemas.microsoft.com/office/drawing/2014/main" id="{54B6E037-E222-42EB-9AEB-C45EF2090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tangle 64">
              <a:extLst>
                <a:ext uri="{FF2B5EF4-FFF2-40B4-BE49-F238E27FC236}">
                  <a16:creationId xmlns:a16="http://schemas.microsoft.com/office/drawing/2014/main" id="{A0494426-372E-42B8-87E1-170F1B5969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tangle 66">
              <a:extLst>
                <a:ext uri="{FF2B5EF4-FFF2-40B4-BE49-F238E27FC236}">
                  <a16:creationId xmlns:a16="http://schemas.microsoft.com/office/drawing/2014/main" id="{14DB5AB5-5D73-4375-8CF4-DF4B7A5D7F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tangle 64">
              <a:extLst>
                <a:ext uri="{FF2B5EF4-FFF2-40B4-BE49-F238E27FC236}">
                  <a16:creationId xmlns:a16="http://schemas.microsoft.com/office/drawing/2014/main" id="{009B2A6E-6D36-4A9A-AFAA-CF4D859147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66">
              <a:extLst>
                <a:ext uri="{FF2B5EF4-FFF2-40B4-BE49-F238E27FC236}">
                  <a16:creationId xmlns:a16="http://schemas.microsoft.com/office/drawing/2014/main" id="{85DC0718-B29F-47A6-931F-F0EF9FA99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tangle 64">
              <a:extLst>
                <a:ext uri="{FF2B5EF4-FFF2-40B4-BE49-F238E27FC236}">
                  <a16:creationId xmlns:a16="http://schemas.microsoft.com/office/drawing/2014/main" id="{AAED958D-AFCC-4BEF-818A-EFF7E41D17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tangle 66">
              <a:extLst>
                <a:ext uri="{FF2B5EF4-FFF2-40B4-BE49-F238E27FC236}">
                  <a16:creationId xmlns:a16="http://schemas.microsoft.com/office/drawing/2014/main" id="{C216DD5A-D1AE-429E-937E-456A50345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tangle 64">
              <a:extLst>
                <a:ext uri="{FF2B5EF4-FFF2-40B4-BE49-F238E27FC236}">
                  <a16:creationId xmlns:a16="http://schemas.microsoft.com/office/drawing/2014/main" id="{A845B253-9DEE-45AC-AADA-FAA6812C3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tangle 66">
              <a:extLst>
                <a:ext uri="{FF2B5EF4-FFF2-40B4-BE49-F238E27FC236}">
                  <a16:creationId xmlns:a16="http://schemas.microsoft.com/office/drawing/2014/main" id="{CE7B6CBF-757B-4B55-84CB-062B712D3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tangle 64">
              <a:extLst>
                <a:ext uri="{FF2B5EF4-FFF2-40B4-BE49-F238E27FC236}">
                  <a16:creationId xmlns:a16="http://schemas.microsoft.com/office/drawing/2014/main" id="{2CC28C7A-EF33-43D3-90CD-DCAC92546A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tangle 66">
              <a:extLst>
                <a:ext uri="{FF2B5EF4-FFF2-40B4-BE49-F238E27FC236}">
                  <a16:creationId xmlns:a16="http://schemas.microsoft.com/office/drawing/2014/main" id="{BC0C9DCF-F15B-4B7A-A16B-37B4335E6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tangle 64">
              <a:extLst>
                <a:ext uri="{FF2B5EF4-FFF2-40B4-BE49-F238E27FC236}">
                  <a16:creationId xmlns:a16="http://schemas.microsoft.com/office/drawing/2014/main" id="{94991FD1-406A-4958-87D4-8DFA9FEA4C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tangle 66">
              <a:extLst>
                <a:ext uri="{FF2B5EF4-FFF2-40B4-BE49-F238E27FC236}">
                  <a16:creationId xmlns:a16="http://schemas.microsoft.com/office/drawing/2014/main" id="{5CD32F69-27AD-4088-877C-E2A40F8B07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233984"/>
            <a:ext cx="493163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STRUMENTOS EN EL DIBUJO TÉCNIC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FCE97A6-9621-5E23-8169-9778CF1BA3F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20707" y="2416188"/>
            <a:ext cx="5897058" cy="4377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85774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8" name="Rectangle 1032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sp>
        <p:nvSpPr>
          <p:cNvPr id="1060" name="Rectangle 1034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93163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1F49CE81-B2F4-47B2-9D4A-886DCE0A8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65848" y="73152"/>
            <a:ext cx="957911" cy="232963"/>
            <a:chOff x="7763256" y="73152"/>
            <a:chExt cx="1178966" cy="232963"/>
          </a:xfrm>
        </p:grpSpPr>
        <p:sp>
          <p:nvSpPr>
            <p:cNvPr id="1038" name="Rectangle 64">
              <a:extLst>
                <a:ext uri="{FF2B5EF4-FFF2-40B4-BE49-F238E27FC236}">
                  <a16:creationId xmlns:a16="http://schemas.microsoft.com/office/drawing/2014/main" id="{4BE32177-3EAD-42DA-997C-8DAE1BFEE5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tangle 66">
              <a:extLst>
                <a:ext uri="{FF2B5EF4-FFF2-40B4-BE49-F238E27FC236}">
                  <a16:creationId xmlns:a16="http://schemas.microsoft.com/office/drawing/2014/main" id="{A0DEE160-9825-4DB5-8188-911AC13EA7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tangle 64">
              <a:extLst>
                <a:ext uri="{FF2B5EF4-FFF2-40B4-BE49-F238E27FC236}">
                  <a16:creationId xmlns:a16="http://schemas.microsoft.com/office/drawing/2014/main" id="{9C5FEDB5-0AEE-40E4-9CA6-6718B956D9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tangle 66">
              <a:extLst>
                <a:ext uri="{FF2B5EF4-FFF2-40B4-BE49-F238E27FC236}">
                  <a16:creationId xmlns:a16="http://schemas.microsoft.com/office/drawing/2014/main" id="{1A11DF2D-1D4B-45DA-906B-2A1F84C99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tangle 64">
              <a:extLst>
                <a:ext uri="{FF2B5EF4-FFF2-40B4-BE49-F238E27FC236}">
                  <a16:creationId xmlns:a16="http://schemas.microsoft.com/office/drawing/2014/main" id="{B6A5BAC0-9806-4124-A584-7F924A6589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tangle 66">
              <a:extLst>
                <a:ext uri="{FF2B5EF4-FFF2-40B4-BE49-F238E27FC236}">
                  <a16:creationId xmlns:a16="http://schemas.microsoft.com/office/drawing/2014/main" id="{A8F6BFA3-38BE-4F0A-94D9-EF0E6EA01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tangle 64">
              <a:extLst>
                <a:ext uri="{FF2B5EF4-FFF2-40B4-BE49-F238E27FC236}">
                  <a16:creationId xmlns:a16="http://schemas.microsoft.com/office/drawing/2014/main" id="{BE6BCF21-959F-419E-BCA4-B20AF92EF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tangle 66">
              <a:extLst>
                <a:ext uri="{FF2B5EF4-FFF2-40B4-BE49-F238E27FC236}">
                  <a16:creationId xmlns:a16="http://schemas.microsoft.com/office/drawing/2014/main" id="{54B6E037-E222-42EB-9AEB-C45EF2090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tangle 64">
              <a:extLst>
                <a:ext uri="{FF2B5EF4-FFF2-40B4-BE49-F238E27FC236}">
                  <a16:creationId xmlns:a16="http://schemas.microsoft.com/office/drawing/2014/main" id="{A0494426-372E-42B8-87E1-170F1B5969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tangle 66">
              <a:extLst>
                <a:ext uri="{FF2B5EF4-FFF2-40B4-BE49-F238E27FC236}">
                  <a16:creationId xmlns:a16="http://schemas.microsoft.com/office/drawing/2014/main" id="{14DB5AB5-5D73-4375-8CF4-DF4B7A5D7F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tangle 64">
              <a:extLst>
                <a:ext uri="{FF2B5EF4-FFF2-40B4-BE49-F238E27FC236}">
                  <a16:creationId xmlns:a16="http://schemas.microsoft.com/office/drawing/2014/main" id="{009B2A6E-6D36-4A9A-AFAA-CF4D859147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66">
              <a:extLst>
                <a:ext uri="{FF2B5EF4-FFF2-40B4-BE49-F238E27FC236}">
                  <a16:creationId xmlns:a16="http://schemas.microsoft.com/office/drawing/2014/main" id="{85DC0718-B29F-47A6-931F-F0EF9FA99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tangle 64">
              <a:extLst>
                <a:ext uri="{FF2B5EF4-FFF2-40B4-BE49-F238E27FC236}">
                  <a16:creationId xmlns:a16="http://schemas.microsoft.com/office/drawing/2014/main" id="{AAED958D-AFCC-4BEF-818A-EFF7E41D17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tangle 66">
              <a:extLst>
                <a:ext uri="{FF2B5EF4-FFF2-40B4-BE49-F238E27FC236}">
                  <a16:creationId xmlns:a16="http://schemas.microsoft.com/office/drawing/2014/main" id="{C216DD5A-D1AE-429E-937E-456A50345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tangle 64">
              <a:extLst>
                <a:ext uri="{FF2B5EF4-FFF2-40B4-BE49-F238E27FC236}">
                  <a16:creationId xmlns:a16="http://schemas.microsoft.com/office/drawing/2014/main" id="{A845B253-9DEE-45AC-AADA-FAA6812C3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tangle 66">
              <a:extLst>
                <a:ext uri="{FF2B5EF4-FFF2-40B4-BE49-F238E27FC236}">
                  <a16:creationId xmlns:a16="http://schemas.microsoft.com/office/drawing/2014/main" id="{CE7B6CBF-757B-4B55-84CB-062B712D3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tangle 64">
              <a:extLst>
                <a:ext uri="{FF2B5EF4-FFF2-40B4-BE49-F238E27FC236}">
                  <a16:creationId xmlns:a16="http://schemas.microsoft.com/office/drawing/2014/main" id="{2CC28C7A-EF33-43D3-90CD-DCAC92546A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tangle 66">
              <a:extLst>
                <a:ext uri="{FF2B5EF4-FFF2-40B4-BE49-F238E27FC236}">
                  <a16:creationId xmlns:a16="http://schemas.microsoft.com/office/drawing/2014/main" id="{BC0C9DCF-F15B-4B7A-A16B-37B4335E6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tangle 64">
              <a:extLst>
                <a:ext uri="{FF2B5EF4-FFF2-40B4-BE49-F238E27FC236}">
                  <a16:creationId xmlns:a16="http://schemas.microsoft.com/office/drawing/2014/main" id="{94991FD1-406A-4958-87D4-8DFA9FEA4C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tangle 66">
              <a:extLst>
                <a:ext uri="{FF2B5EF4-FFF2-40B4-BE49-F238E27FC236}">
                  <a16:creationId xmlns:a16="http://schemas.microsoft.com/office/drawing/2014/main" id="{5CD32F69-27AD-4088-877C-E2A40F8B07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233984"/>
            <a:ext cx="493163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STRUMENTOS EN EL DIBUJO TÉCNIC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pic>
        <p:nvPicPr>
          <p:cNvPr id="4" name="Picture 4" descr="▷ LA REGLA T: tipos y usos en dibujo técnico. | Arquitectura Civil">
            <a:extLst>
              <a:ext uri="{FF2B5EF4-FFF2-40B4-BE49-F238E27FC236}">
                <a16:creationId xmlns:a16="http://schemas.microsoft.com/office/drawing/2014/main" id="{36CC6C92-6A9E-772B-6405-7DAF7521A1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45817" y="2731078"/>
            <a:ext cx="3677689" cy="3677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REGLA T MAPED (60 CM, COLORES) | Office Depot Mexico">
            <a:extLst>
              <a:ext uri="{FF2B5EF4-FFF2-40B4-BE49-F238E27FC236}">
                <a16:creationId xmlns:a16="http://schemas.microsoft.com/office/drawing/2014/main" id="{773351A4-4C19-12A2-88E1-D0197F62F7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42082" y="2399235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Amazon.com: Ludwig Precision Regla T de 12 a 48 pulgadas resistente de  aluminio : Productos de Oficina">
            <a:extLst>
              <a:ext uri="{FF2B5EF4-FFF2-40B4-BE49-F238E27FC236}">
                <a16:creationId xmlns:a16="http://schemas.microsoft.com/office/drawing/2014/main" id="{212F15AD-C22D-6F8E-7FCD-BEBB19088C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9589637">
            <a:off x="3868412" y="4280431"/>
            <a:ext cx="2476500" cy="1847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Reglas T y Escuadras - Escalímetros y Plantillas de Arquitecto - OFERTAS">
            <a:extLst>
              <a:ext uri="{FF2B5EF4-FFF2-40B4-BE49-F238E27FC236}">
                <a16:creationId xmlns:a16="http://schemas.microsoft.com/office/drawing/2014/main" id="{D76B367F-C091-76F3-1C53-217EC0FFA1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6761" y="4231779"/>
            <a:ext cx="2553069" cy="25530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Regla T - Arkiplus">
            <a:extLst>
              <a:ext uri="{FF2B5EF4-FFF2-40B4-BE49-F238E27FC236}">
                <a16:creationId xmlns:a16="http://schemas.microsoft.com/office/drawing/2014/main" id="{B1AE00C3-EF98-C516-6163-70F09101A5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7374" y="2328232"/>
            <a:ext cx="3898645" cy="2259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58935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8" name="Rectangle 1032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sp>
        <p:nvSpPr>
          <p:cNvPr id="1060" name="Rectangle 1034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93163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1F49CE81-B2F4-47B2-9D4A-886DCE0A8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65848" y="73152"/>
            <a:ext cx="957911" cy="232963"/>
            <a:chOff x="7763256" y="73152"/>
            <a:chExt cx="1178966" cy="232963"/>
          </a:xfrm>
        </p:grpSpPr>
        <p:sp>
          <p:nvSpPr>
            <p:cNvPr id="1038" name="Rectangle 64">
              <a:extLst>
                <a:ext uri="{FF2B5EF4-FFF2-40B4-BE49-F238E27FC236}">
                  <a16:creationId xmlns:a16="http://schemas.microsoft.com/office/drawing/2014/main" id="{4BE32177-3EAD-42DA-997C-8DAE1BFEE5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tangle 66">
              <a:extLst>
                <a:ext uri="{FF2B5EF4-FFF2-40B4-BE49-F238E27FC236}">
                  <a16:creationId xmlns:a16="http://schemas.microsoft.com/office/drawing/2014/main" id="{A0DEE160-9825-4DB5-8188-911AC13EA7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tangle 64">
              <a:extLst>
                <a:ext uri="{FF2B5EF4-FFF2-40B4-BE49-F238E27FC236}">
                  <a16:creationId xmlns:a16="http://schemas.microsoft.com/office/drawing/2014/main" id="{9C5FEDB5-0AEE-40E4-9CA6-6718B956D9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tangle 66">
              <a:extLst>
                <a:ext uri="{FF2B5EF4-FFF2-40B4-BE49-F238E27FC236}">
                  <a16:creationId xmlns:a16="http://schemas.microsoft.com/office/drawing/2014/main" id="{1A11DF2D-1D4B-45DA-906B-2A1F84C99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tangle 64">
              <a:extLst>
                <a:ext uri="{FF2B5EF4-FFF2-40B4-BE49-F238E27FC236}">
                  <a16:creationId xmlns:a16="http://schemas.microsoft.com/office/drawing/2014/main" id="{B6A5BAC0-9806-4124-A584-7F924A6589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tangle 66">
              <a:extLst>
                <a:ext uri="{FF2B5EF4-FFF2-40B4-BE49-F238E27FC236}">
                  <a16:creationId xmlns:a16="http://schemas.microsoft.com/office/drawing/2014/main" id="{A8F6BFA3-38BE-4F0A-94D9-EF0E6EA01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tangle 64">
              <a:extLst>
                <a:ext uri="{FF2B5EF4-FFF2-40B4-BE49-F238E27FC236}">
                  <a16:creationId xmlns:a16="http://schemas.microsoft.com/office/drawing/2014/main" id="{BE6BCF21-959F-419E-BCA4-B20AF92EF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tangle 66">
              <a:extLst>
                <a:ext uri="{FF2B5EF4-FFF2-40B4-BE49-F238E27FC236}">
                  <a16:creationId xmlns:a16="http://schemas.microsoft.com/office/drawing/2014/main" id="{54B6E037-E222-42EB-9AEB-C45EF2090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tangle 64">
              <a:extLst>
                <a:ext uri="{FF2B5EF4-FFF2-40B4-BE49-F238E27FC236}">
                  <a16:creationId xmlns:a16="http://schemas.microsoft.com/office/drawing/2014/main" id="{A0494426-372E-42B8-87E1-170F1B5969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tangle 66">
              <a:extLst>
                <a:ext uri="{FF2B5EF4-FFF2-40B4-BE49-F238E27FC236}">
                  <a16:creationId xmlns:a16="http://schemas.microsoft.com/office/drawing/2014/main" id="{14DB5AB5-5D73-4375-8CF4-DF4B7A5D7F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tangle 64">
              <a:extLst>
                <a:ext uri="{FF2B5EF4-FFF2-40B4-BE49-F238E27FC236}">
                  <a16:creationId xmlns:a16="http://schemas.microsoft.com/office/drawing/2014/main" id="{009B2A6E-6D36-4A9A-AFAA-CF4D859147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66">
              <a:extLst>
                <a:ext uri="{FF2B5EF4-FFF2-40B4-BE49-F238E27FC236}">
                  <a16:creationId xmlns:a16="http://schemas.microsoft.com/office/drawing/2014/main" id="{85DC0718-B29F-47A6-931F-F0EF9FA99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tangle 64">
              <a:extLst>
                <a:ext uri="{FF2B5EF4-FFF2-40B4-BE49-F238E27FC236}">
                  <a16:creationId xmlns:a16="http://schemas.microsoft.com/office/drawing/2014/main" id="{AAED958D-AFCC-4BEF-818A-EFF7E41D17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tangle 66">
              <a:extLst>
                <a:ext uri="{FF2B5EF4-FFF2-40B4-BE49-F238E27FC236}">
                  <a16:creationId xmlns:a16="http://schemas.microsoft.com/office/drawing/2014/main" id="{C216DD5A-D1AE-429E-937E-456A50345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tangle 64">
              <a:extLst>
                <a:ext uri="{FF2B5EF4-FFF2-40B4-BE49-F238E27FC236}">
                  <a16:creationId xmlns:a16="http://schemas.microsoft.com/office/drawing/2014/main" id="{A845B253-9DEE-45AC-AADA-FAA6812C3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tangle 66">
              <a:extLst>
                <a:ext uri="{FF2B5EF4-FFF2-40B4-BE49-F238E27FC236}">
                  <a16:creationId xmlns:a16="http://schemas.microsoft.com/office/drawing/2014/main" id="{CE7B6CBF-757B-4B55-84CB-062B712D3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tangle 64">
              <a:extLst>
                <a:ext uri="{FF2B5EF4-FFF2-40B4-BE49-F238E27FC236}">
                  <a16:creationId xmlns:a16="http://schemas.microsoft.com/office/drawing/2014/main" id="{2CC28C7A-EF33-43D3-90CD-DCAC92546A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tangle 66">
              <a:extLst>
                <a:ext uri="{FF2B5EF4-FFF2-40B4-BE49-F238E27FC236}">
                  <a16:creationId xmlns:a16="http://schemas.microsoft.com/office/drawing/2014/main" id="{BC0C9DCF-F15B-4B7A-A16B-37B4335E6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tangle 64">
              <a:extLst>
                <a:ext uri="{FF2B5EF4-FFF2-40B4-BE49-F238E27FC236}">
                  <a16:creationId xmlns:a16="http://schemas.microsoft.com/office/drawing/2014/main" id="{94991FD1-406A-4958-87D4-8DFA9FEA4C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tangle 66">
              <a:extLst>
                <a:ext uri="{FF2B5EF4-FFF2-40B4-BE49-F238E27FC236}">
                  <a16:creationId xmlns:a16="http://schemas.microsoft.com/office/drawing/2014/main" id="{5CD32F69-27AD-4088-877C-E2A40F8B07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233984"/>
            <a:ext cx="493163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STRUMENTOS EN EL DIBUJO TÉCNIC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21585C5-C1C3-372E-E051-409572651F8A}"/>
              </a:ext>
            </a:extLst>
          </p:cNvPr>
          <p:cNvSpPr txBox="1"/>
          <p:nvPr/>
        </p:nvSpPr>
        <p:spPr>
          <a:xfrm>
            <a:off x="1168901" y="2538005"/>
            <a:ext cx="7782004" cy="400348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 fontScale="70000" lnSpcReduction="20000"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cuadras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rmalmente se usan en pareja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 </a:t>
            </a:r>
            <a:r>
              <a:rPr lang="es-MX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imera </a:t>
            </a: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ángulo de </a:t>
            </a:r>
            <a:r>
              <a:rPr lang="es-MX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90</a:t>
            </a: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° y los otros 2 ángulos de </a:t>
            </a:r>
            <a:r>
              <a:rPr lang="es-MX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5</a:t>
            </a: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°.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 </a:t>
            </a:r>
            <a:r>
              <a:rPr lang="es-MX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gunda </a:t>
            </a: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ene un ángulo de </a:t>
            </a:r>
            <a:r>
              <a:rPr lang="es-MX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90</a:t>
            </a: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°, otro de </a:t>
            </a:r>
            <a:r>
              <a:rPr lang="es-MX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0</a:t>
            </a: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° y otro de </a:t>
            </a:r>
            <a:r>
              <a:rPr lang="es-MX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60</a:t>
            </a: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°.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gunas definiciones llaman a la primera como </a:t>
            </a:r>
            <a:r>
              <a:rPr lang="es-MX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CUADRA </a:t>
            </a: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y a la segunda </a:t>
            </a:r>
            <a:r>
              <a:rPr lang="es-MX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RTABÓN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s escuadras deben tener sus filos lisos, para que las líneas que tracemos salgan sin defecto. </a:t>
            </a:r>
          </a:p>
        </p:txBody>
      </p:sp>
    </p:spTree>
    <p:extLst>
      <p:ext uri="{BB962C8B-B14F-4D97-AF65-F5344CB8AC3E}">
        <p14:creationId xmlns:p14="http://schemas.microsoft.com/office/powerpoint/2010/main" val="353942571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8" name="Rectangle 1032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sp>
        <p:nvSpPr>
          <p:cNvPr id="1060" name="Rectangle 1034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93163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1F49CE81-B2F4-47B2-9D4A-886DCE0A8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65848" y="73152"/>
            <a:ext cx="957911" cy="232963"/>
            <a:chOff x="7763256" y="73152"/>
            <a:chExt cx="1178966" cy="232963"/>
          </a:xfrm>
        </p:grpSpPr>
        <p:sp>
          <p:nvSpPr>
            <p:cNvPr id="1038" name="Rectangle 64">
              <a:extLst>
                <a:ext uri="{FF2B5EF4-FFF2-40B4-BE49-F238E27FC236}">
                  <a16:creationId xmlns:a16="http://schemas.microsoft.com/office/drawing/2014/main" id="{4BE32177-3EAD-42DA-997C-8DAE1BFEE5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tangle 66">
              <a:extLst>
                <a:ext uri="{FF2B5EF4-FFF2-40B4-BE49-F238E27FC236}">
                  <a16:creationId xmlns:a16="http://schemas.microsoft.com/office/drawing/2014/main" id="{A0DEE160-9825-4DB5-8188-911AC13EA7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tangle 64">
              <a:extLst>
                <a:ext uri="{FF2B5EF4-FFF2-40B4-BE49-F238E27FC236}">
                  <a16:creationId xmlns:a16="http://schemas.microsoft.com/office/drawing/2014/main" id="{9C5FEDB5-0AEE-40E4-9CA6-6718B956D9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tangle 66">
              <a:extLst>
                <a:ext uri="{FF2B5EF4-FFF2-40B4-BE49-F238E27FC236}">
                  <a16:creationId xmlns:a16="http://schemas.microsoft.com/office/drawing/2014/main" id="{1A11DF2D-1D4B-45DA-906B-2A1F84C99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tangle 64">
              <a:extLst>
                <a:ext uri="{FF2B5EF4-FFF2-40B4-BE49-F238E27FC236}">
                  <a16:creationId xmlns:a16="http://schemas.microsoft.com/office/drawing/2014/main" id="{B6A5BAC0-9806-4124-A584-7F924A6589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tangle 66">
              <a:extLst>
                <a:ext uri="{FF2B5EF4-FFF2-40B4-BE49-F238E27FC236}">
                  <a16:creationId xmlns:a16="http://schemas.microsoft.com/office/drawing/2014/main" id="{A8F6BFA3-38BE-4F0A-94D9-EF0E6EA01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tangle 64">
              <a:extLst>
                <a:ext uri="{FF2B5EF4-FFF2-40B4-BE49-F238E27FC236}">
                  <a16:creationId xmlns:a16="http://schemas.microsoft.com/office/drawing/2014/main" id="{BE6BCF21-959F-419E-BCA4-B20AF92EF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tangle 66">
              <a:extLst>
                <a:ext uri="{FF2B5EF4-FFF2-40B4-BE49-F238E27FC236}">
                  <a16:creationId xmlns:a16="http://schemas.microsoft.com/office/drawing/2014/main" id="{54B6E037-E222-42EB-9AEB-C45EF2090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tangle 64">
              <a:extLst>
                <a:ext uri="{FF2B5EF4-FFF2-40B4-BE49-F238E27FC236}">
                  <a16:creationId xmlns:a16="http://schemas.microsoft.com/office/drawing/2014/main" id="{A0494426-372E-42B8-87E1-170F1B5969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tangle 66">
              <a:extLst>
                <a:ext uri="{FF2B5EF4-FFF2-40B4-BE49-F238E27FC236}">
                  <a16:creationId xmlns:a16="http://schemas.microsoft.com/office/drawing/2014/main" id="{14DB5AB5-5D73-4375-8CF4-DF4B7A5D7F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tangle 64">
              <a:extLst>
                <a:ext uri="{FF2B5EF4-FFF2-40B4-BE49-F238E27FC236}">
                  <a16:creationId xmlns:a16="http://schemas.microsoft.com/office/drawing/2014/main" id="{009B2A6E-6D36-4A9A-AFAA-CF4D859147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66">
              <a:extLst>
                <a:ext uri="{FF2B5EF4-FFF2-40B4-BE49-F238E27FC236}">
                  <a16:creationId xmlns:a16="http://schemas.microsoft.com/office/drawing/2014/main" id="{85DC0718-B29F-47A6-931F-F0EF9FA99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tangle 64">
              <a:extLst>
                <a:ext uri="{FF2B5EF4-FFF2-40B4-BE49-F238E27FC236}">
                  <a16:creationId xmlns:a16="http://schemas.microsoft.com/office/drawing/2014/main" id="{AAED958D-AFCC-4BEF-818A-EFF7E41D17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tangle 66">
              <a:extLst>
                <a:ext uri="{FF2B5EF4-FFF2-40B4-BE49-F238E27FC236}">
                  <a16:creationId xmlns:a16="http://schemas.microsoft.com/office/drawing/2014/main" id="{C216DD5A-D1AE-429E-937E-456A50345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tangle 64">
              <a:extLst>
                <a:ext uri="{FF2B5EF4-FFF2-40B4-BE49-F238E27FC236}">
                  <a16:creationId xmlns:a16="http://schemas.microsoft.com/office/drawing/2014/main" id="{A845B253-9DEE-45AC-AADA-FAA6812C3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tangle 66">
              <a:extLst>
                <a:ext uri="{FF2B5EF4-FFF2-40B4-BE49-F238E27FC236}">
                  <a16:creationId xmlns:a16="http://schemas.microsoft.com/office/drawing/2014/main" id="{CE7B6CBF-757B-4B55-84CB-062B712D3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tangle 64">
              <a:extLst>
                <a:ext uri="{FF2B5EF4-FFF2-40B4-BE49-F238E27FC236}">
                  <a16:creationId xmlns:a16="http://schemas.microsoft.com/office/drawing/2014/main" id="{2CC28C7A-EF33-43D3-90CD-DCAC92546A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tangle 66">
              <a:extLst>
                <a:ext uri="{FF2B5EF4-FFF2-40B4-BE49-F238E27FC236}">
                  <a16:creationId xmlns:a16="http://schemas.microsoft.com/office/drawing/2014/main" id="{BC0C9DCF-F15B-4B7A-A16B-37B4335E6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tangle 64">
              <a:extLst>
                <a:ext uri="{FF2B5EF4-FFF2-40B4-BE49-F238E27FC236}">
                  <a16:creationId xmlns:a16="http://schemas.microsoft.com/office/drawing/2014/main" id="{94991FD1-406A-4958-87D4-8DFA9FEA4C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tangle 66">
              <a:extLst>
                <a:ext uri="{FF2B5EF4-FFF2-40B4-BE49-F238E27FC236}">
                  <a16:creationId xmlns:a16="http://schemas.microsoft.com/office/drawing/2014/main" id="{5CD32F69-27AD-4088-877C-E2A40F8B07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233984"/>
            <a:ext cx="493163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STRUMENTOS EN EL DIBUJO TÉCNIC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pic>
        <p:nvPicPr>
          <p:cNvPr id="3084" name="Picture 12" descr="Materiales para Dibujo Técnico - Regalos para Científicos">
            <a:extLst>
              <a:ext uri="{FF2B5EF4-FFF2-40B4-BE49-F238E27FC236}">
                <a16:creationId xmlns:a16="http://schemas.microsoft.com/office/drawing/2014/main" id="{CB9BCEFD-2D3D-95DC-BE9B-6AC174E466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2735" y="5045991"/>
            <a:ext cx="2743200" cy="1666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 descr="▷ Escuadra Tecnica Profesional | Dibujo Técnico | Plantec">
            <a:extLst>
              <a:ext uri="{FF2B5EF4-FFF2-40B4-BE49-F238E27FC236}">
                <a16:creationId xmlns:a16="http://schemas.microsoft.com/office/drawing/2014/main" id="{34BDD595-043B-C40C-E1CA-F40FB02F71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48901" y="5010149"/>
            <a:ext cx="2466975" cy="1847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0. Instrumentos de dibujo | Instrumentos de dibujo, Técnicas de dibujo,  Disenos de unas">
            <a:extLst>
              <a:ext uri="{FF2B5EF4-FFF2-40B4-BE49-F238E27FC236}">
                <a16:creationId xmlns:a16="http://schemas.microsoft.com/office/drawing/2014/main" id="{89111636-4721-ED33-FE9D-643073721C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0191" y="2666970"/>
            <a:ext cx="4389979" cy="2609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▷ Rotring Escuadra ¿Dónde Comprar? - Estilograficas.net">
            <a:extLst>
              <a:ext uri="{FF2B5EF4-FFF2-40B4-BE49-F238E27FC236}">
                <a16:creationId xmlns:a16="http://schemas.microsoft.com/office/drawing/2014/main" id="{AABC8AF5-ADE3-3643-E676-04009984BD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53000" y="2348808"/>
            <a:ext cx="4641998" cy="2785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8" name="Picture 16" descr="Herramientas Para el Dibujo Técnico">
            <a:extLst>
              <a:ext uri="{FF2B5EF4-FFF2-40B4-BE49-F238E27FC236}">
                <a16:creationId xmlns:a16="http://schemas.microsoft.com/office/drawing/2014/main" id="{A94F667B-7B88-8009-1747-B4B1F596F0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54978" y="5128694"/>
            <a:ext cx="2619375" cy="175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622363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8" name="Rectangle 1032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sp>
        <p:nvSpPr>
          <p:cNvPr id="1060" name="Rectangle 1034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93163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1F49CE81-B2F4-47B2-9D4A-886DCE0A8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65848" y="73152"/>
            <a:ext cx="957911" cy="232963"/>
            <a:chOff x="7763256" y="73152"/>
            <a:chExt cx="1178966" cy="232963"/>
          </a:xfrm>
        </p:grpSpPr>
        <p:sp>
          <p:nvSpPr>
            <p:cNvPr id="1038" name="Rectangle 64">
              <a:extLst>
                <a:ext uri="{FF2B5EF4-FFF2-40B4-BE49-F238E27FC236}">
                  <a16:creationId xmlns:a16="http://schemas.microsoft.com/office/drawing/2014/main" id="{4BE32177-3EAD-42DA-997C-8DAE1BFEE5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tangle 66">
              <a:extLst>
                <a:ext uri="{FF2B5EF4-FFF2-40B4-BE49-F238E27FC236}">
                  <a16:creationId xmlns:a16="http://schemas.microsoft.com/office/drawing/2014/main" id="{A0DEE160-9825-4DB5-8188-911AC13EA7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tangle 64">
              <a:extLst>
                <a:ext uri="{FF2B5EF4-FFF2-40B4-BE49-F238E27FC236}">
                  <a16:creationId xmlns:a16="http://schemas.microsoft.com/office/drawing/2014/main" id="{9C5FEDB5-0AEE-40E4-9CA6-6718B956D9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tangle 66">
              <a:extLst>
                <a:ext uri="{FF2B5EF4-FFF2-40B4-BE49-F238E27FC236}">
                  <a16:creationId xmlns:a16="http://schemas.microsoft.com/office/drawing/2014/main" id="{1A11DF2D-1D4B-45DA-906B-2A1F84C99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tangle 64">
              <a:extLst>
                <a:ext uri="{FF2B5EF4-FFF2-40B4-BE49-F238E27FC236}">
                  <a16:creationId xmlns:a16="http://schemas.microsoft.com/office/drawing/2014/main" id="{B6A5BAC0-9806-4124-A584-7F924A6589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tangle 66">
              <a:extLst>
                <a:ext uri="{FF2B5EF4-FFF2-40B4-BE49-F238E27FC236}">
                  <a16:creationId xmlns:a16="http://schemas.microsoft.com/office/drawing/2014/main" id="{A8F6BFA3-38BE-4F0A-94D9-EF0E6EA01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tangle 64">
              <a:extLst>
                <a:ext uri="{FF2B5EF4-FFF2-40B4-BE49-F238E27FC236}">
                  <a16:creationId xmlns:a16="http://schemas.microsoft.com/office/drawing/2014/main" id="{BE6BCF21-959F-419E-BCA4-B20AF92EF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tangle 66">
              <a:extLst>
                <a:ext uri="{FF2B5EF4-FFF2-40B4-BE49-F238E27FC236}">
                  <a16:creationId xmlns:a16="http://schemas.microsoft.com/office/drawing/2014/main" id="{54B6E037-E222-42EB-9AEB-C45EF2090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tangle 64">
              <a:extLst>
                <a:ext uri="{FF2B5EF4-FFF2-40B4-BE49-F238E27FC236}">
                  <a16:creationId xmlns:a16="http://schemas.microsoft.com/office/drawing/2014/main" id="{A0494426-372E-42B8-87E1-170F1B5969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tangle 66">
              <a:extLst>
                <a:ext uri="{FF2B5EF4-FFF2-40B4-BE49-F238E27FC236}">
                  <a16:creationId xmlns:a16="http://schemas.microsoft.com/office/drawing/2014/main" id="{14DB5AB5-5D73-4375-8CF4-DF4B7A5D7F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tangle 64">
              <a:extLst>
                <a:ext uri="{FF2B5EF4-FFF2-40B4-BE49-F238E27FC236}">
                  <a16:creationId xmlns:a16="http://schemas.microsoft.com/office/drawing/2014/main" id="{009B2A6E-6D36-4A9A-AFAA-CF4D859147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66">
              <a:extLst>
                <a:ext uri="{FF2B5EF4-FFF2-40B4-BE49-F238E27FC236}">
                  <a16:creationId xmlns:a16="http://schemas.microsoft.com/office/drawing/2014/main" id="{85DC0718-B29F-47A6-931F-F0EF9FA99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tangle 64">
              <a:extLst>
                <a:ext uri="{FF2B5EF4-FFF2-40B4-BE49-F238E27FC236}">
                  <a16:creationId xmlns:a16="http://schemas.microsoft.com/office/drawing/2014/main" id="{AAED958D-AFCC-4BEF-818A-EFF7E41D17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tangle 66">
              <a:extLst>
                <a:ext uri="{FF2B5EF4-FFF2-40B4-BE49-F238E27FC236}">
                  <a16:creationId xmlns:a16="http://schemas.microsoft.com/office/drawing/2014/main" id="{C216DD5A-D1AE-429E-937E-456A50345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tangle 64">
              <a:extLst>
                <a:ext uri="{FF2B5EF4-FFF2-40B4-BE49-F238E27FC236}">
                  <a16:creationId xmlns:a16="http://schemas.microsoft.com/office/drawing/2014/main" id="{A845B253-9DEE-45AC-AADA-FAA6812C3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tangle 66">
              <a:extLst>
                <a:ext uri="{FF2B5EF4-FFF2-40B4-BE49-F238E27FC236}">
                  <a16:creationId xmlns:a16="http://schemas.microsoft.com/office/drawing/2014/main" id="{CE7B6CBF-757B-4B55-84CB-062B712D3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tangle 64">
              <a:extLst>
                <a:ext uri="{FF2B5EF4-FFF2-40B4-BE49-F238E27FC236}">
                  <a16:creationId xmlns:a16="http://schemas.microsoft.com/office/drawing/2014/main" id="{2CC28C7A-EF33-43D3-90CD-DCAC92546A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tangle 66">
              <a:extLst>
                <a:ext uri="{FF2B5EF4-FFF2-40B4-BE49-F238E27FC236}">
                  <a16:creationId xmlns:a16="http://schemas.microsoft.com/office/drawing/2014/main" id="{BC0C9DCF-F15B-4B7A-A16B-37B4335E6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tangle 64">
              <a:extLst>
                <a:ext uri="{FF2B5EF4-FFF2-40B4-BE49-F238E27FC236}">
                  <a16:creationId xmlns:a16="http://schemas.microsoft.com/office/drawing/2014/main" id="{94991FD1-406A-4958-87D4-8DFA9FEA4C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tangle 66">
              <a:extLst>
                <a:ext uri="{FF2B5EF4-FFF2-40B4-BE49-F238E27FC236}">
                  <a16:creationId xmlns:a16="http://schemas.microsoft.com/office/drawing/2014/main" id="{5CD32F69-27AD-4088-877C-E2A40F8B07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233984"/>
            <a:ext cx="493163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STRUMENTOS EN EL DIBUJO TÉCNIC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21585C5-C1C3-372E-E051-409572651F8A}"/>
              </a:ext>
            </a:extLst>
          </p:cNvPr>
          <p:cNvSpPr txBox="1"/>
          <p:nvPr/>
        </p:nvSpPr>
        <p:spPr>
          <a:xfrm>
            <a:off x="1190988" y="2450948"/>
            <a:ext cx="7782004" cy="452156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 fontScale="85000" lnSpcReduction="20000"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pás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 compás es un instrumento para realizar círculos o arcos en el dibujo técnico.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mbién se puede utilizar como una herramienta para medir distancias.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 compás trazador se usa para círculos desde 25.4 mm de radio hasta unos 152 mm de radio.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 se utiliza la barra de extensión se pueden dibujar círculos hasta de 305 mm de radio.  </a:t>
            </a:r>
          </a:p>
        </p:txBody>
      </p:sp>
    </p:spTree>
    <p:extLst>
      <p:ext uri="{BB962C8B-B14F-4D97-AF65-F5344CB8AC3E}">
        <p14:creationId xmlns:p14="http://schemas.microsoft.com/office/powerpoint/2010/main" val="131611799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8" name="Rectangle 1032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sp>
        <p:nvSpPr>
          <p:cNvPr id="1060" name="Rectangle 1034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93163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1F49CE81-B2F4-47B2-9D4A-886DCE0A8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65848" y="73152"/>
            <a:ext cx="957911" cy="232963"/>
            <a:chOff x="7763256" y="73152"/>
            <a:chExt cx="1178966" cy="232963"/>
          </a:xfrm>
        </p:grpSpPr>
        <p:sp>
          <p:nvSpPr>
            <p:cNvPr id="1038" name="Rectangle 64">
              <a:extLst>
                <a:ext uri="{FF2B5EF4-FFF2-40B4-BE49-F238E27FC236}">
                  <a16:creationId xmlns:a16="http://schemas.microsoft.com/office/drawing/2014/main" id="{4BE32177-3EAD-42DA-997C-8DAE1BFEE5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tangle 66">
              <a:extLst>
                <a:ext uri="{FF2B5EF4-FFF2-40B4-BE49-F238E27FC236}">
                  <a16:creationId xmlns:a16="http://schemas.microsoft.com/office/drawing/2014/main" id="{A0DEE160-9825-4DB5-8188-911AC13EA7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tangle 64">
              <a:extLst>
                <a:ext uri="{FF2B5EF4-FFF2-40B4-BE49-F238E27FC236}">
                  <a16:creationId xmlns:a16="http://schemas.microsoft.com/office/drawing/2014/main" id="{9C5FEDB5-0AEE-40E4-9CA6-6718B956D9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tangle 66">
              <a:extLst>
                <a:ext uri="{FF2B5EF4-FFF2-40B4-BE49-F238E27FC236}">
                  <a16:creationId xmlns:a16="http://schemas.microsoft.com/office/drawing/2014/main" id="{1A11DF2D-1D4B-45DA-906B-2A1F84C99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tangle 64">
              <a:extLst>
                <a:ext uri="{FF2B5EF4-FFF2-40B4-BE49-F238E27FC236}">
                  <a16:creationId xmlns:a16="http://schemas.microsoft.com/office/drawing/2014/main" id="{B6A5BAC0-9806-4124-A584-7F924A6589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tangle 66">
              <a:extLst>
                <a:ext uri="{FF2B5EF4-FFF2-40B4-BE49-F238E27FC236}">
                  <a16:creationId xmlns:a16="http://schemas.microsoft.com/office/drawing/2014/main" id="{A8F6BFA3-38BE-4F0A-94D9-EF0E6EA01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tangle 64">
              <a:extLst>
                <a:ext uri="{FF2B5EF4-FFF2-40B4-BE49-F238E27FC236}">
                  <a16:creationId xmlns:a16="http://schemas.microsoft.com/office/drawing/2014/main" id="{BE6BCF21-959F-419E-BCA4-B20AF92EF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tangle 66">
              <a:extLst>
                <a:ext uri="{FF2B5EF4-FFF2-40B4-BE49-F238E27FC236}">
                  <a16:creationId xmlns:a16="http://schemas.microsoft.com/office/drawing/2014/main" id="{54B6E037-E222-42EB-9AEB-C45EF2090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tangle 64">
              <a:extLst>
                <a:ext uri="{FF2B5EF4-FFF2-40B4-BE49-F238E27FC236}">
                  <a16:creationId xmlns:a16="http://schemas.microsoft.com/office/drawing/2014/main" id="{A0494426-372E-42B8-87E1-170F1B5969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tangle 66">
              <a:extLst>
                <a:ext uri="{FF2B5EF4-FFF2-40B4-BE49-F238E27FC236}">
                  <a16:creationId xmlns:a16="http://schemas.microsoft.com/office/drawing/2014/main" id="{14DB5AB5-5D73-4375-8CF4-DF4B7A5D7F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tangle 64">
              <a:extLst>
                <a:ext uri="{FF2B5EF4-FFF2-40B4-BE49-F238E27FC236}">
                  <a16:creationId xmlns:a16="http://schemas.microsoft.com/office/drawing/2014/main" id="{009B2A6E-6D36-4A9A-AFAA-CF4D859147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66">
              <a:extLst>
                <a:ext uri="{FF2B5EF4-FFF2-40B4-BE49-F238E27FC236}">
                  <a16:creationId xmlns:a16="http://schemas.microsoft.com/office/drawing/2014/main" id="{85DC0718-B29F-47A6-931F-F0EF9FA99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tangle 64">
              <a:extLst>
                <a:ext uri="{FF2B5EF4-FFF2-40B4-BE49-F238E27FC236}">
                  <a16:creationId xmlns:a16="http://schemas.microsoft.com/office/drawing/2014/main" id="{AAED958D-AFCC-4BEF-818A-EFF7E41D17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tangle 66">
              <a:extLst>
                <a:ext uri="{FF2B5EF4-FFF2-40B4-BE49-F238E27FC236}">
                  <a16:creationId xmlns:a16="http://schemas.microsoft.com/office/drawing/2014/main" id="{C216DD5A-D1AE-429E-937E-456A50345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tangle 64">
              <a:extLst>
                <a:ext uri="{FF2B5EF4-FFF2-40B4-BE49-F238E27FC236}">
                  <a16:creationId xmlns:a16="http://schemas.microsoft.com/office/drawing/2014/main" id="{A845B253-9DEE-45AC-AADA-FAA6812C3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tangle 66">
              <a:extLst>
                <a:ext uri="{FF2B5EF4-FFF2-40B4-BE49-F238E27FC236}">
                  <a16:creationId xmlns:a16="http://schemas.microsoft.com/office/drawing/2014/main" id="{CE7B6CBF-757B-4B55-84CB-062B712D3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tangle 64">
              <a:extLst>
                <a:ext uri="{FF2B5EF4-FFF2-40B4-BE49-F238E27FC236}">
                  <a16:creationId xmlns:a16="http://schemas.microsoft.com/office/drawing/2014/main" id="{2CC28C7A-EF33-43D3-90CD-DCAC92546A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tangle 66">
              <a:extLst>
                <a:ext uri="{FF2B5EF4-FFF2-40B4-BE49-F238E27FC236}">
                  <a16:creationId xmlns:a16="http://schemas.microsoft.com/office/drawing/2014/main" id="{BC0C9DCF-F15B-4B7A-A16B-37B4335E6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tangle 64">
              <a:extLst>
                <a:ext uri="{FF2B5EF4-FFF2-40B4-BE49-F238E27FC236}">
                  <a16:creationId xmlns:a16="http://schemas.microsoft.com/office/drawing/2014/main" id="{94991FD1-406A-4958-87D4-8DFA9FEA4C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tangle 66">
              <a:extLst>
                <a:ext uri="{FF2B5EF4-FFF2-40B4-BE49-F238E27FC236}">
                  <a16:creationId xmlns:a16="http://schemas.microsoft.com/office/drawing/2014/main" id="{5CD32F69-27AD-4088-877C-E2A40F8B07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233984"/>
            <a:ext cx="493163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STRUMENTOS EN EL DIBUJO TÉCNIC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308FCB4-F8C7-85A0-C8B4-2BEDBD58DAD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8698" y="2507597"/>
            <a:ext cx="7234237" cy="4350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12221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8" name="Rectangle 1032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sp>
        <p:nvSpPr>
          <p:cNvPr id="1060" name="Rectangle 1034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93163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1F49CE81-B2F4-47B2-9D4A-886DCE0A8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65848" y="73152"/>
            <a:ext cx="957911" cy="232963"/>
            <a:chOff x="7763256" y="73152"/>
            <a:chExt cx="1178966" cy="232963"/>
          </a:xfrm>
        </p:grpSpPr>
        <p:sp>
          <p:nvSpPr>
            <p:cNvPr id="1038" name="Rectangle 64">
              <a:extLst>
                <a:ext uri="{FF2B5EF4-FFF2-40B4-BE49-F238E27FC236}">
                  <a16:creationId xmlns:a16="http://schemas.microsoft.com/office/drawing/2014/main" id="{4BE32177-3EAD-42DA-997C-8DAE1BFEE5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tangle 66">
              <a:extLst>
                <a:ext uri="{FF2B5EF4-FFF2-40B4-BE49-F238E27FC236}">
                  <a16:creationId xmlns:a16="http://schemas.microsoft.com/office/drawing/2014/main" id="{A0DEE160-9825-4DB5-8188-911AC13EA7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tangle 64">
              <a:extLst>
                <a:ext uri="{FF2B5EF4-FFF2-40B4-BE49-F238E27FC236}">
                  <a16:creationId xmlns:a16="http://schemas.microsoft.com/office/drawing/2014/main" id="{9C5FEDB5-0AEE-40E4-9CA6-6718B956D9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tangle 66">
              <a:extLst>
                <a:ext uri="{FF2B5EF4-FFF2-40B4-BE49-F238E27FC236}">
                  <a16:creationId xmlns:a16="http://schemas.microsoft.com/office/drawing/2014/main" id="{1A11DF2D-1D4B-45DA-906B-2A1F84C99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tangle 64">
              <a:extLst>
                <a:ext uri="{FF2B5EF4-FFF2-40B4-BE49-F238E27FC236}">
                  <a16:creationId xmlns:a16="http://schemas.microsoft.com/office/drawing/2014/main" id="{B6A5BAC0-9806-4124-A584-7F924A6589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tangle 66">
              <a:extLst>
                <a:ext uri="{FF2B5EF4-FFF2-40B4-BE49-F238E27FC236}">
                  <a16:creationId xmlns:a16="http://schemas.microsoft.com/office/drawing/2014/main" id="{A8F6BFA3-38BE-4F0A-94D9-EF0E6EA01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tangle 64">
              <a:extLst>
                <a:ext uri="{FF2B5EF4-FFF2-40B4-BE49-F238E27FC236}">
                  <a16:creationId xmlns:a16="http://schemas.microsoft.com/office/drawing/2014/main" id="{BE6BCF21-959F-419E-BCA4-B20AF92EF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tangle 66">
              <a:extLst>
                <a:ext uri="{FF2B5EF4-FFF2-40B4-BE49-F238E27FC236}">
                  <a16:creationId xmlns:a16="http://schemas.microsoft.com/office/drawing/2014/main" id="{54B6E037-E222-42EB-9AEB-C45EF2090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tangle 64">
              <a:extLst>
                <a:ext uri="{FF2B5EF4-FFF2-40B4-BE49-F238E27FC236}">
                  <a16:creationId xmlns:a16="http://schemas.microsoft.com/office/drawing/2014/main" id="{A0494426-372E-42B8-87E1-170F1B5969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tangle 66">
              <a:extLst>
                <a:ext uri="{FF2B5EF4-FFF2-40B4-BE49-F238E27FC236}">
                  <a16:creationId xmlns:a16="http://schemas.microsoft.com/office/drawing/2014/main" id="{14DB5AB5-5D73-4375-8CF4-DF4B7A5D7F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tangle 64">
              <a:extLst>
                <a:ext uri="{FF2B5EF4-FFF2-40B4-BE49-F238E27FC236}">
                  <a16:creationId xmlns:a16="http://schemas.microsoft.com/office/drawing/2014/main" id="{009B2A6E-6D36-4A9A-AFAA-CF4D859147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66">
              <a:extLst>
                <a:ext uri="{FF2B5EF4-FFF2-40B4-BE49-F238E27FC236}">
                  <a16:creationId xmlns:a16="http://schemas.microsoft.com/office/drawing/2014/main" id="{85DC0718-B29F-47A6-931F-F0EF9FA99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tangle 64">
              <a:extLst>
                <a:ext uri="{FF2B5EF4-FFF2-40B4-BE49-F238E27FC236}">
                  <a16:creationId xmlns:a16="http://schemas.microsoft.com/office/drawing/2014/main" id="{AAED958D-AFCC-4BEF-818A-EFF7E41D17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tangle 66">
              <a:extLst>
                <a:ext uri="{FF2B5EF4-FFF2-40B4-BE49-F238E27FC236}">
                  <a16:creationId xmlns:a16="http://schemas.microsoft.com/office/drawing/2014/main" id="{C216DD5A-D1AE-429E-937E-456A50345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tangle 64">
              <a:extLst>
                <a:ext uri="{FF2B5EF4-FFF2-40B4-BE49-F238E27FC236}">
                  <a16:creationId xmlns:a16="http://schemas.microsoft.com/office/drawing/2014/main" id="{A845B253-9DEE-45AC-AADA-FAA6812C3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tangle 66">
              <a:extLst>
                <a:ext uri="{FF2B5EF4-FFF2-40B4-BE49-F238E27FC236}">
                  <a16:creationId xmlns:a16="http://schemas.microsoft.com/office/drawing/2014/main" id="{CE7B6CBF-757B-4B55-84CB-062B712D3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tangle 64">
              <a:extLst>
                <a:ext uri="{FF2B5EF4-FFF2-40B4-BE49-F238E27FC236}">
                  <a16:creationId xmlns:a16="http://schemas.microsoft.com/office/drawing/2014/main" id="{2CC28C7A-EF33-43D3-90CD-DCAC92546A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tangle 66">
              <a:extLst>
                <a:ext uri="{FF2B5EF4-FFF2-40B4-BE49-F238E27FC236}">
                  <a16:creationId xmlns:a16="http://schemas.microsoft.com/office/drawing/2014/main" id="{BC0C9DCF-F15B-4B7A-A16B-37B4335E6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tangle 64">
              <a:extLst>
                <a:ext uri="{FF2B5EF4-FFF2-40B4-BE49-F238E27FC236}">
                  <a16:creationId xmlns:a16="http://schemas.microsoft.com/office/drawing/2014/main" id="{94991FD1-406A-4958-87D4-8DFA9FEA4C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tangle 66">
              <a:extLst>
                <a:ext uri="{FF2B5EF4-FFF2-40B4-BE49-F238E27FC236}">
                  <a16:creationId xmlns:a16="http://schemas.microsoft.com/office/drawing/2014/main" id="{5CD32F69-27AD-4088-877C-E2A40F8B07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233984"/>
            <a:ext cx="493163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STRUMENTOS EN EL DIBUJO TÉCNIC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pic>
        <p:nvPicPr>
          <p:cNvPr id="4098" name="Picture 2" descr="Compás (Dibujo Técnico)">
            <a:extLst>
              <a:ext uri="{FF2B5EF4-FFF2-40B4-BE49-F238E27FC236}">
                <a16:creationId xmlns:a16="http://schemas.microsoft.com/office/drawing/2014/main" id="{8F5517E5-F4AD-22A9-1CA8-D3E7133779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8846" y="2608011"/>
            <a:ext cx="2409825" cy="1895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Cómo utilizar un compás">
            <a:extLst>
              <a:ext uri="{FF2B5EF4-FFF2-40B4-BE49-F238E27FC236}">
                <a16:creationId xmlns:a16="http://schemas.microsoft.com/office/drawing/2014/main" id="{558343EF-8B33-F892-54D5-7B2548FBF6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81775" y="2520417"/>
            <a:ext cx="3114675" cy="2375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Vuelta al cole 2022: Los mejores compases · CompraMejor.es">
            <a:extLst>
              <a:ext uri="{FF2B5EF4-FFF2-40B4-BE49-F238E27FC236}">
                <a16:creationId xmlns:a16="http://schemas.microsoft.com/office/drawing/2014/main" id="{A70DE47E-B6D6-EF5D-B7C8-C13578E669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68901" y="4857750"/>
            <a:ext cx="2857500" cy="16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6" name="Picture 10" descr="Materiales y herramientas del dibujo técnico - Dibujo Técnico">
            <a:extLst>
              <a:ext uri="{FF2B5EF4-FFF2-40B4-BE49-F238E27FC236}">
                <a16:creationId xmlns:a16="http://schemas.microsoft.com/office/drawing/2014/main" id="{57E7E08D-00FA-B5E1-A892-3118F935DC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4536" y="2520417"/>
            <a:ext cx="3197689" cy="2127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8" name="Picture 12" descr="Utensilios de dibujo técnico - Wikipedia, la enciclopedia libre">
            <a:extLst>
              <a:ext uri="{FF2B5EF4-FFF2-40B4-BE49-F238E27FC236}">
                <a16:creationId xmlns:a16="http://schemas.microsoft.com/office/drawing/2014/main" id="{6C8ED37A-3D79-0F28-A142-D674E49DD7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91025" y="4898046"/>
            <a:ext cx="2381250" cy="1790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0" name="Picture 14" descr="Amazon.es: compas dibujo tecnico profesional">
            <a:extLst>
              <a:ext uri="{FF2B5EF4-FFF2-40B4-BE49-F238E27FC236}">
                <a16:creationId xmlns:a16="http://schemas.microsoft.com/office/drawing/2014/main" id="{9E8BAC81-B78F-2CF2-CBAC-46E97BAB4B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86750" y="5007159"/>
            <a:ext cx="1619250" cy="1769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2" name="Picture 16" descr="Compas de Precisión juvenil faber castell - papeleriacolorama">
            <a:extLst>
              <a:ext uri="{FF2B5EF4-FFF2-40B4-BE49-F238E27FC236}">
                <a16:creationId xmlns:a16="http://schemas.microsoft.com/office/drawing/2014/main" id="{2AC4A699-7773-52A3-EF34-658A278336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91337" y="5007159"/>
            <a:ext cx="1395413" cy="1573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179783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8" name="Rectangle 1032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sp>
        <p:nvSpPr>
          <p:cNvPr id="1060" name="Rectangle 1034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93163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1F49CE81-B2F4-47B2-9D4A-886DCE0A8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65848" y="73152"/>
            <a:ext cx="957911" cy="232963"/>
            <a:chOff x="7763256" y="73152"/>
            <a:chExt cx="1178966" cy="232963"/>
          </a:xfrm>
        </p:grpSpPr>
        <p:sp>
          <p:nvSpPr>
            <p:cNvPr id="1038" name="Rectangle 64">
              <a:extLst>
                <a:ext uri="{FF2B5EF4-FFF2-40B4-BE49-F238E27FC236}">
                  <a16:creationId xmlns:a16="http://schemas.microsoft.com/office/drawing/2014/main" id="{4BE32177-3EAD-42DA-997C-8DAE1BFEE5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tangle 66">
              <a:extLst>
                <a:ext uri="{FF2B5EF4-FFF2-40B4-BE49-F238E27FC236}">
                  <a16:creationId xmlns:a16="http://schemas.microsoft.com/office/drawing/2014/main" id="{A0DEE160-9825-4DB5-8188-911AC13EA7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tangle 64">
              <a:extLst>
                <a:ext uri="{FF2B5EF4-FFF2-40B4-BE49-F238E27FC236}">
                  <a16:creationId xmlns:a16="http://schemas.microsoft.com/office/drawing/2014/main" id="{9C5FEDB5-0AEE-40E4-9CA6-6718B956D9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tangle 66">
              <a:extLst>
                <a:ext uri="{FF2B5EF4-FFF2-40B4-BE49-F238E27FC236}">
                  <a16:creationId xmlns:a16="http://schemas.microsoft.com/office/drawing/2014/main" id="{1A11DF2D-1D4B-45DA-906B-2A1F84C99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tangle 64">
              <a:extLst>
                <a:ext uri="{FF2B5EF4-FFF2-40B4-BE49-F238E27FC236}">
                  <a16:creationId xmlns:a16="http://schemas.microsoft.com/office/drawing/2014/main" id="{B6A5BAC0-9806-4124-A584-7F924A6589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tangle 66">
              <a:extLst>
                <a:ext uri="{FF2B5EF4-FFF2-40B4-BE49-F238E27FC236}">
                  <a16:creationId xmlns:a16="http://schemas.microsoft.com/office/drawing/2014/main" id="{A8F6BFA3-38BE-4F0A-94D9-EF0E6EA01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tangle 64">
              <a:extLst>
                <a:ext uri="{FF2B5EF4-FFF2-40B4-BE49-F238E27FC236}">
                  <a16:creationId xmlns:a16="http://schemas.microsoft.com/office/drawing/2014/main" id="{BE6BCF21-959F-419E-BCA4-B20AF92EF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tangle 66">
              <a:extLst>
                <a:ext uri="{FF2B5EF4-FFF2-40B4-BE49-F238E27FC236}">
                  <a16:creationId xmlns:a16="http://schemas.microsoft.com/office/drawing/2014/main" id="{54B6E037-E222-42EB-9AEB-C45EF2090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tangle 64">
              <a:extLst>
                <a:ext uri="{FF2B5EF4-FFF2-40B4-BE49-F238E27FC236}">
                  <a16:creationId xmlns:a16="http://schemas.microsoft.com/office/drawing/2014/main" id="{A0494426-372E-42B8-87E1-170F1B5969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tangle 66">
              <a:extLst>
                <a:ext uri="{FF2B5EF4-FFF2-40B4-BE49-F238E27FC236}">
                  <a16:creationId xmlns:a16="http://schemas.microsoft.com/office/drawing/2014/main" id="{14DB5AB5-5D73-4375-8CF4-DF4B7A5D7F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tangle 64">
              <a:extLst>
                <a:ext uri="{FF2B5EF4-FFF2-40B4-BE49-F238E27FC236}">
                  <a16:creationId xmlns:a16="http://schemas.microsoft.com/office/drawing/2014/main" id="{009B2A6E-6D36-4A9A-AFAA-CF4D859147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66">
              <a:extLst>
                <a:ext uri="{FF2B5EF4-FFF2-40B4-BE49-F238E27FC236}">
                  <a16:creationId xmlns:a16="http://schemas.microsoft.com/office/drawing/2014/main" id="{85DC0718-B29F-47A6-931F-F0EF9FA99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tangle 64">
              <a:extLst>
                <a:ext uri="{FF2B5EF4-FFF2-40B4-BE49-F238E27FC236}">
                  <a16:creationId xmlns:a16="http://schemas.microsoft.com/office/drawing/2014/main" id="{AAED958D-AFCC-4BEF-818A-EFF7E41D17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tangle 66">
              <a:extLst>
                <a:ext uri="{FF2B5EF4-FFF2-40B4-BE49-F238E27FC236}">
                  <a16:creationId xmlns:a16="http://schemas.microsoft.com/office/drawing/2014/main" id="{C216DD5A-D1AE-429E-937E-456A50345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tangle 64">
              <a:extLst>
                <a:ext uri="{FF2B5EF4-FFF2-40B4-BE49-F238E27FC236}">
                  <a16:creationId xmlns:a16="http://schemas.microsoft.com/office/drawing/2014/main" id="{A845B253-9DEE-45AC-AADA-FAA6812C3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tangle 66">
              <a:extLst>
                <a:ext uri="{FF2B5EF4-FFF2-40B4-BE49-F238E27FC236}">
                  <a16:creationId xmlns:a16="http://schemas.microsoft.com/office/drawing/2014/main" id="{CE7B6CBF-757B-4B55-84CB-062B712D3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tangle 64">
              <a:extLst>
                <a:ext uri="{FF2B5EF4-FFF2-40B4-BE49-F238E27FC236}">
                  <a16:creationId xmlns:a16="http://schemas.microsoft.com/office/drawing/2014/main" id="{2CC28C7A-EF33-43D3-90CD-DCAC92546A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tangle 66">
              <a:extLst>
                <a:ext uri="{FF2B5EF4-FFF2-40B4-BE49-F238E27FC236}">
                  <a16:creationId xmlns:a16="http://schemas.microsoft.com/office/drawing/2014/main" id="{BC0C9DCF-F15B-4B7A-A16B-37B4335E6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tangle 64">
              <a:extLst>
                <a:ext uri="{FF2B5EF4-FFF2-40B4-BE49-F238E27FC236}">
                  <a16:creationId xmlns:a16="http://schemas.microsoft.com/office/drawing/2014/main" id="{94991FD1-406A-4958-87D4-8DFA9FEA4C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tangle 66">
              <a:extLst>
                <a:ext uri="{FF2B5EF4-FFF2-40B4-BE49-F238E27FC236}">
                  <a16:creationId xmlns:a16="http://schemas.microsoft.com/office/drawing/2014/main" id="{5CD32F69-27AD-4088-877C-E2A40F8B07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233984"/>
            <a:ext cx="493163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STRUMENTOS EN EL DIBUJO TÉCNIC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21585C5-C1C3-372E-E051-409572651F8A}"/>
              </a:ext>
            </a:extLst>
          </p:cNvPr>
          <p:cNvSpPr txBox="1"/>
          <p:nvPr/>
        </p:nvSpPr>
        <p:spPr>
          <a:xfrm>
            <a:off x="561975" y="2383027"/>
            <a:ext cx="9291637" cy="430572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44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glas graduadas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 usan para medir longitudes sobre el papel.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s tipos de reglas son: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44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gla común: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 plana, está graduada sólo por una cara, en centímetros y milímetros.</a:t>
            </a:r>
          </a:p>
        </p:txBody>
      </p:sp>
    </p:spTree>
    <p:extLst>
      <p:ext uri="{BB962C8B-B14F-4D97-AF65-F5344CB8AC3E}">
        <p14:creationId xmlns:p14="http://schemas.microsoft.com/office/powerpoint/2010/main" val="321062645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8" name="Rectangle 1032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sp>
        <p:nvSpPr>
          <p:cNvPr id="1060" name="Rectangle 1034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93163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1F49CE81-B2F4-47B2-9D4A-886DCE0A8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65848" y="73152"/>
            <a:ext cx="957911" cy="232963"/>
            <a:chOff x="7763256" y="73152"/>
            <a:chExt cx="1178966" cy="232963"/>
          </a:xfrm>
        </p:grpSpPr>
        <p:sp>
          <p:nvSpPr>
            <p:cNvPr id="1038" name="Rectangle 64">
              <a:extLst>
                <a:ext uri="{FF2B5EF4-FFF2-40B4-BE49-F238E27FC236}">
                  <a16:creationId xmlns:a16="http://schemas.microsoft.com/office/drawing/2014/main" id="{4BE32177-3EAD-42DA-997C-8DAE1BFEE5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tangle 66">
              <a:extLst>
                <a:ext uri="{FF2B5EF4-FFF2-40B4-BE49-F238E27FC236}">
                  <a16:creationId xmlns:a16="http://schemas.microsoft.com/office/drawing/2014/main" id="{A0DEE160-9825-4DB5-8188-911AC13EA7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tangle 64">
              <a:extLst>
                <a:ext uri="{FF2B5EF4-FFF2-40B4-BE49-F238E27FC236}">
                  <a16:creationId xmlns:a16="http://schemas.microsoft.com/office/drawing/2014/main" id="{9C5FEDB5-0AEE-40E4-9CA6-6718B956D9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tangle 66">
              <a:extLst>
                <a:ext uri="{FF2B5EF4-FFF2-40B4-BE49-F238E27FC236}">
                  <a16:creationId xmlns:a16="http://schemas.microsoft.com/office/drawing/2014/main" id="{1A11DF2D-1D4B-45DA-906B-2A1F84C99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tangle 64">
              <a:extLst>
                <a:ext uri="{FF2B5EF4-FFF2-40B4-BE49-F238E27FC236}">
                  <a16:creationId xmlns:a16="http://schemas.microsoft.com/office/drawing/2014/main" id="{B6A5BAC0-9806-4124-A584-7F924A6589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tangle 66">
              <a:extLst>
                <a:ext uri="{FF2B5EF4-FFF2-40B4-BE49-F238E27FC236}">
                  <a16:creationId xmlns:a16="http://schemas.microsoft.com/office/drawing/2014/main" id="{A8F6BFA3-38BE-4F0A-94D9-EF0E6EA01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tangle 64">
              <a:extLst>
                <a:ext uri="{FF2B5EF4-FFF2-40B4-BE49-F238E27FC236}">
                  <a16:creationId xmlns:a16="http://schemas.microsoft.com/office/drawing/2014/main" id="{BE6BCF21-959F-419E-BCA4-B20AF92EF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tangle 66">
              <a:extLst>
                <a:ext uri="{FF2B5EF4-FFF2-40B4-BE49-F238E27FC236}">
                  <a16:creationId xmlns:a16="http://schemas.microsoft.com/office/drawing/2014/main" id="{54B6E037-E222-42EB-9AEB-C45EF2090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tangle 64">
              <a:extLst>
                <a:ext uri="{FF2B5EF4-FFF2-40B4-BE49-F238E27FC236}">
                  <a16:creationId xmlns:a16="http://schemas.microsoft.com/office/drawing/2014/main" id="{A0494426-372E-42B8-87E1-170F1B5969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tangle 66">
              <a:extLst>
                <a:ext uri="{FF2B5EF4-FFF2-40B4-BE49-F238E27FC236}">
                  <a16:creationId xmlns:a16="http://schemas.microsoft.com/office/drawing/2014/main" id="{14DB5AB5-5D73-4375-8CF4-DF4B7A5D7F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tangle 64">
              <a:extLst>
                <a:ext uri="{FF2B5EF4-FFF2-40B4-BE49-F238E27FC236}">
                  <a16:creationId xmlns:a16="http://schemas.microsoft.com/office/drawing/2014/main" id="{009B2A6E-6D36-4A9A-AFAA-CF4D859147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66">
              <a:extLst>
                <a:ext uri="{FF2B5EF4-FFF2-40B4-BE49-F238E27FC236}">
                  <a16:creationId xmlns:a16="http://schemas.microsoft.com/office/drawing/2014/main" id="{85DC0718-B29F-47A6-931F-F0EF9FA99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tangle 64">
              <a:extLst>
                <a:ext uri="{FF2B5EF4-FFF2-40B4-BE49-F238E27FC236}">
                  <a16:creationId xmlns:a16="http://schemas.microsoft.com/office/drawing/2014/main" id="{AAED958D-AFCC-4BEF-818A-EFF7E41D17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tangle 66">
              <a:extLst>
                <a:ext uri="{FF2B5EF4-FFF2-40B4-BE49-F238E27FC236}">
                  <a16:creationId xmlns:a16="http://schemas.microsoft.com/office/drawing/2014/main" id="{C216DD5A-D1AE-429E-937E-456A50345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tangle 64">
              <a:extLst>
                <a:ext uri="{FF2B5EF4-FFF2-40B4-BE49-F238E27FC236}">
                  <a16:creationId xmlns:a16="http://schemas.microsoft.com/office/drawing/2014/main" id="{A845B253-9DEE-45AC-AADA-FAA6812C3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tangle 66">
              <a:extLst>
                <a:ext uri="{FF2B5EF4-FFF2-40B4-BE49-F238E27FC236}">
                  <a16:creationId xmlns:a16="http://schemas.microsoft.com/office/drawing/2014/main" id="{CE7B6CBF-757B-4B55-84CB-062B712D3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tangle 64">
              <a:extLst>
                <a:ext uri="{FF2B5EF4-FFF2-40B4-BE49-F238E27FC236}">
                  <a16:creationId xmlns:a16="http://schemas.microsoft.com/office/drawing/2014/main" id="{2CC28C7A-EF33-43D3-90CD-DCAC92546A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tangle 66">
              <a:extLst>
                <a:ext uri="{FF2B5EF4-FFF2-40B4-BE49-F238E27FC236}">
                  <a16:creationId xmlns:a16="http://schemas.microsoft.com/office/drawing/2014/main" id="{BC0C9DCF-F15B-4B7A-A16B-37B4335E6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tangle 64">
              <a:extLst>
                <a:ext uri="{FF2B5EF4-FFF2-40B4-BE49-F238E27FC236}">
                  <a16:creationId xmlns:a16="http://schemas.microsoft.com/office/drawing/2014/main" id="{94991FD1-406A-4958-87D4-8DFA9FEA4C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tangle 66">
              <a:extLst>
                <a:ext uri="{FF2B5EF4-FFF2-40B4-BE49-F238E27FC236}">
                  <a16:creationId xmlns:a16="http://schemas.microsoft.com/office/drawing/2014/main" id="{5CD32F69-27AD-4088-877C-E2A40F8B07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233984"/>
            <a:ext cx="493163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STRUMENTOS EN EL DIBUJO TÉCNIC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21585C5-C1C3-372E-E051-409572651F8A}"/>
              </a:ext>
            </a:extLst>
          </p:cNvPr>
          <p:cNvSpPr txBox="1"/>
          <p:nvPr/>
        </p:nvSpPr>
        <p:spPr>
          <a:xfrm>
            <a:off x="561975" y="2383027"/>
            <a:ext cx="9291637" cy="430572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 fontScale="77500" lnSpcReduction="20000"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44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calímetro: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44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ene sección triangular equilátera, cada cara es un bisel y cada bisel tiene graduada una escala diferente (6 escalas en total).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44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ra identificar mejor las escalas lleva una ranura coloreada en cada bisel.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44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rmalmente, las escalas son: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44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:100; 1:200; 1:250; 1:300; 1:400; 1:500. </a:t>
            </a:r>
          </a:p>
        </p:txBody>
      </p:sp>
    </p:spTree>
    <p:extLst>
      <p:ext uri="{BB962C8B-B14F-4D97-AF65-F5344CB8AC3E}">
        <p14:creationId xmlns:p14="http://schemas.microsoft.com/office/powerpoint/2010/main" val="236891779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8" name="Rectangle 1032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sp>
        <p:nvSpPr>
          <p:cNvPr id="1060" name="Rectangle 1034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93163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1F49CE81-B2F4-47B2-9D4A-886DCE0A8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65848" y="73152"/>
            <a:ext cx="957911" cy="232963"/>
            <a:chOff x="7763256" y="73152"/>
            <a:chExt cx="1178966" cy="232963"/>
          </a:xfrm>
        </p:grpSpPr>
        <p:sp>
          <p:nvSpPr>
            <p:cNvPr id="1038" name="Rectangle 64">
              <a:extLst>
                <a:ext uri="{FF2B5EF4-FFF2-40B4-BE49-F238E27FC236}">
                  <a16:creationId xmlns:a16="http://schemas.microsoft.com/office/drawing/2014/main" id="{4BE32177-3EAD-42DA-997C-8DAE1BFEE5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tangle 66">
              <a:extLst>
                <a:ext uri="{FF2B5EF4-FFF2-40B4-BE49-F238E27FC236}">
                  <a16:creationId xmlns:a16="http://schemas.microsoft.com/office/drawing/2014/main" id="{A0DEE160-9825-4DB5-8188-911AC13EA7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tangle 64">
              <a:extLst>
                <a:ext uri="{FF2B5EF4-FFF2-40B4-BE49-F238E27FC236}">
                  <a16:creationId xmlns:a16="http://schemas.microsoft.com/office/drawing/2014/main" id="{9C5FEDB5-0AEE-40E4-9CA6-6718B956D9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tangle 66">
              <a:extLst>
                <a:ext uri="{FF2B5EF4-FFF2-40B4-BE49-F238E27FC236}">
                  <a16:creationId xmlns:a16="http://schemas.microsoft.com/office/drawing/2014/main" id="{1A11DF2D-1D4B-45DA-906B-2A1F84C99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tangle 64">
              <a:extLst>
                <a:ext uri="{FF2B5EF4-FFF2-40B4-BE49-F238E27FC236}">
                  <a16:creationId xmlns:a16="http://schemas.microsoft.com/office/drawing/2014/main" id="{B6A5BAC0-9806-4124-A584-7F924A6589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tangle 66">
              <a:extLst>
                <a:ext uri="{FF2B5EF4-FFF2-40B4-BE49-F238E27FC236}">
                  <a16:creationId xmlns:a16="http://schemas.microsoft.com/office/drawing/2014/main" id="{A8F6BFA3-38BE-4F0A-94D9-EF0E6EA01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tangle 64">
              <a:extLst>
                <a:ext uri="{FF2B5EF4-FFF2-40B4-BE49-F238E27FC236}">
                  <a16:creationId xmlns:a16="http://schemas.microsoft.com/office/drawing/2014/main" id="{BE6BCF21-959F-419E-BCA4-B20AF92EF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tangle 66">
              <a:extLst>
                <a:ext uri="{FF2B5EF4-FFF2-40B4-BE49-F238E27FC236}">
                  <a16:creationId xmlns:a16="http://schemas.microsoft.com/office/drawing/2014/main" id="{54B6E037-E222-42EB-9AEB-C45EF2090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tangle 64">
              <a:extLst>
                <a:ext uri="{FF2B5EF4-FFF2-40B4-BE49-F238E27FC236}">
                  <a16:creationId xmlns:a16="http://schemas.microsoft.com/office/drawing/2014/main" id="{A0494426-372E-42B8-87E1-170F1B5969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tangle 66">
              <a:extLst>
                <a:ext uri="{FF2B5EF4-FFF2-40B4-BE49-F238E27FC236}">
                  <a16:creationId xmlns:a16="http://schemas.microsoft.com/office/drawing/2014/main" id="{14DB5AB5-5D73-4375-8CF4-DF4B7A5D7F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tangle 64">
              <a:extLst>
                <a:ext uri="{FF2B5EF4-FFF2-40B4-BE49-F238E27FC236}">
                  <a16:creationId xmlns:a16="http://schemas.microsoft.com/office/drawing/2014/main" id="{009B2A6E-6D36-4A9A-AFAA-CF4D859147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66">
              <a:extLst>
                <a:ext uri="{FF2B5EF4-FFF2-40B4-BE49-F238E27FC236}">
                  <a16:creationId xmlns:a16="http://schemas.microsoft.com/office/drawing/2014/main" id="{85DC0718-B29F-47A6-931F-F0EF9FA99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tangle 64">
              <a:extLst>
                <a:ext uri="{FF2B5EF4-FFF2-40B4-BE49-F238E27FC236}">
                  <a16:creationId xmlns:a16="http://schemas.microsoft.com/office/drawing/2014/main" id="{AAED958D-AFCC-4BEF-818A-EFF7E41D17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tangle 66">
              <a:extLst>
                <a:ext uri="{FF2B5EF4-FFF2-40B4-BE49-F238E27FC236}">
                  <a16:creationId xmlns:a16="http://schemas.microsoft.com/office/drawing/2014/main" id="{C216DD5A-D1AE-429E-937E-456A50345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tangle 64">
              <a:extLst>
                <a:ext uri="{FF2B5EF4-FFF2-40B4-BE49-F238E27FC236}">
                  <a16:creationId xmlns:a16="http://schemas.microsoft.com/office/drawing/2014/main" id="{A845B253-9DEE-45AC-AADA-FAA6812C3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tangle 66">
              <a:extLst>
                <a:ext uri="{FF2B5EF4-FFF2-40B4-BE49-F238E27FC236}">
                  <a16:creationId xmlns:a16="http://schemas.microsoft.com/office/drawing/2014/main" id="{CE7B6CBF-757B-4B55-84CB-062B712D3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tangle 64">
              <a:extLst>
                <a:ext uri="{FF2B5EF4-FFF2-40B4-BE49-F238E27FC236}">
                  <a16:creationId xmlns:a16="http://schemas.microsoft.com/office/drawing/2014/main" id="{2CC28C7A-EF33-43D3-90CD-DCAC92546A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tangle 66">
              <a:extLst>
                <a:ext uri="{FF2B5EF4-FFF2-40B4-BE49-F238E27FC236}">
                  <a16:creationId xmlns:a16="http://schemas.microsoft.com/office/drawing/2014/main" id="{BC0C9DCF-F15B-4B7A-A16B-37B4335E6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tangle 64">
              <a:extLst>
                <a:ext uri="{FF2B5EF4-FFF2-40B4-BE49-F238E27FC236}">
                  <a16:creationId xmlns:a16="http://schemas.microsoft.com/office/drawing/2014/main" id="{94991FD1-406A-4958-87D4-8DFA9FEA4C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tangle 66">
              <a:extLst>
                <a:ext uri="{FF2B5EF4-FFF2-40B4-BE49-F238E27FC236}">
                  <a16:creationId xmlns:a16="http://schemas.microsoft.com/office/drawing/2014/main" id="{5CD32F69-27AD-4088-877C-E2A40F8B07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233984"/>
            <a:ext cx="493163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STRUMENTOS EN EL DIBUJO TÉCNIC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pic>
        <p:nvPicPr>
          <p:cNvPr id="4114" name="Picture 18" descr="CONVERTIDOR de ESCALAS # 2022 | Escalimetro Online">
            <a:extLst>
              <a:ext uri="{FF2B5EF4-FFF2-40B4-BE49-F238E27FC236}">
                <a16:creationId xmlns:a16="http://schemas.microsoft.com/office/drawing/2014/main" id="{2B303958-3A93-7ED2-F6C7-F3E4F5E029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0022" y="2854576"/>
            <a:ext cx="2628900" cy="1733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6" name="Picture 20" descr="Escalimetro Dibujo Tecnico Plantec Escalas Altas 30cm | Libreria El Angel">
            <a:extLst>
              <a:ext uri="{FF2B5EF4-FFF2-40B4-BE49-F238E27FC236}">
                <a16:creationId xmlns:a16="http://schemas.microsoft.com/office/drawing/2014/main" id="{A49466DD-3E2A-2437-C597-DDA2B318A4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98016" y="2731078"/>
            <a:ext cx="4045821" cy="174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8" name="Picture 22" descr="Escalímetro - Arkiplus">
            <a:extLst>
              <a:ext uri="{FF2B5EF4-FFF2-40B4-BE49-F238E27FC236}">
                <a16:creationId xmlns:a16="http://schemas.microsoft.com/office/drawing/2014/main" id="{2AFF1F59-969B-8B7F-86F0-589AED3298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4171" y="4735551"/>
            <a:ext cx="2952750" cy="1552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20" name="Picture 24" descr="Escalímetro triangular 30cm con funda térmica">
            <a:extLst>
              <a:ext uri="{FF2B5EF4-FFF2-40B4-BE49-F238E27FC236}">
                <a16:creationId xmlns:a16="http://schemas.microsoft.com/office/drawing/2014/main" id="{708D4FBB-EFCC-ACA5-DE98-811A1BEA0F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22394" y="2455339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22" name="Picture 26" descr="Escalímetro-en-abanico - Dibujotecnico.com">
            <a:extLst>
              <a:ext uri="{FF2B5EF4-FFF2-40B4-BE49-F238E27FC236}">
                <a16:creationId xmlns:a16="http://schemas.microsoft.com/office/drawing/2014/main" id="{A1CD0FB3-88E6-8753-1DF6-A00FA0E034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18469" y="4796377"/>
            <a:ext cx="2562225" cy="1781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28" name="Picture 32" descr="Grillos, Arte y Dibujo - Escalimetro Deval -Características: Hecho en  México bajo estandartes de medición y precisión internacionales. Su cuerpo  está fabricado en PVC de alta resistencia al impacto, con escalas impresas,">
            <a:extLst>
              <a:ext uri="{FF2B5EF4-FFF2-40B4-BE49-F238E27FC236}">
                <a16:creationId xmlns:a16="http://schemas.microsoft.com/office/drawing/2014/main" id="{5D0BF8B7-367F-CB3B-EE96-64EED57908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12227" y="4681538"/>
            <a:ext cx="2466975" cy="1847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435231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8" name="Rectangle 1032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sp>
        <p:nvSpPr>
          <p:cNvPr id="1060" name="Rectangle 1034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93163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1F49CE81-B2F4-47B2-9D4A-886DCE0A8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65848" y="73152"/>
            <a:ext cx="957911" cy="232963"/>
            <a:chOff x="7763256" y="73152"/>
            <a:chExt cx="1178966" cy="232963"/>
          </a:xfrm>
        </p:grpSpPr>
        <p:sp>
          <p:nvSpPr>
            <p:cNvPr id="1038" name="Rectangle 64">
              <a:extLst>
                <a:ext uri="{FF2B5EF4-FFF2-40B4-BE49-F238E27FC236}">
                  <a16:creationId xmlns:a16="http://schemas.microsoft.com/office/drawing/2014/main" id="{4BE32177-3EAD-42DA-997C-8DAE1BFEE5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tangle 66">
              <a:extLst>
                <a:ext uri="{FF2B5EF4-FFF2-40B4-BE49-F238E27FC236}">
                  <a16:creationId xmlns:a16="http://schemas.microsoft.com/office/drawing/2014/main" id="{A0DEE160-9825-4DB5-8188-911AC13EA7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tangle 64">
              <a:extLst>
                <a:ext uri="{FF2B5EF4-FFF2-40B4-BE49-F238E27FC236}">
                  <a16:creationId xmlns:a16="http://schemas.microsoft.com/office/drawing/2014/main" id="{9C5FEDB5-0AEE-40E4-9CA6-6718B956D9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tangle 66">
              <a:extLst>
                <a:ext uri="{FF2B5EF4-FFF2-40B4-BE49-F238E27FC236}">
                  <a16:creationId xmlns:a16="http://schemas.microsoft.com/office/drawing/2014/main" id="{1A11DF2D-1D4B-45DA-906B-2A1F84C99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tangle 64">
              <a:extLst>
                <a:ext uri="{FF2B5EF4-FFF2-40B4-BE49-F238E27FC236}">
                  <a16:creationId xmlns:a16="http://schemas.microsoft.com/office/drawing/2014/main" id="{B6A5BAC0-9806-4124-A584-7F924A6589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tangle 66">
              <a:extLst>
                <a:ext uri="{FF2B5EF4-FFF2-40B4-BE49-F238E27FC236}">
                  <a16:creationId xmlns:a16="http://schemas.microsoft.com/office/drawing/2014/main" id="{A8F6BFA3-38BE-4F0A-94D9-EF0E6EA01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tangle 64">
              <a:extLst>
                <a:ext uri="{FF2B5EF4-FFF2-40B4-BE49-F238E27FC236}">
                  <a16:creationId xmlns:a16="http://schemas.microsoft.com/office/drawing/2014/main" id="{BE6BCF21-959F-419E-BCA4-B20AF92EF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tangle 66">
              <a:extLst>
                <a:ext uri="{FF2B5EF4-FFF2-40B4-BE49-F238E27FC236}">
                  <a16:creationId xmlns:a16="http://schemas.microsoft.com/office/drawing/2014/main" id="{54B6E037-E222-42EB-9AEB-C45EF2090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tangle 64">
              <a:extLst>
                <a:ext uri="{FF2B5EF4-FFF2-40B4-BE49-F238E27FC236}">
                  <a16:creationId xmlns:a16="http://schemas.microsoft.com/office/drawing/2014/main" id="{A0494426-372E-42B8-87E1-170F1B5969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tangle 66">
              <a:extLst>
                <a:ext uri="{FF2B5EF4-FFF2-40B4-BE49-F238E27FC236}">
                  <a16:creationId xmlns:a16="http://schemas.microsoft.com/office/drawing/2014/main" id="{14DB5AB5-5D73-4375-8CF4-DF4B7A5D7F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tangle 64">
              <a:extLst>
                <a:ext uri="{FF2B5EF4-FFF2-40B4-BE49-F238E27FC236}">
                  <a16:creationId xmlns:a16="http://schemas.microsoft.com/office/drawing/2014/main" id="{009B2A6E-6D36-4A9A-AFAA-CF4D859147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66">
              <a:extLst>
                <a:ext uri="{FF2B5EF4-FFF2-40B4-BE49-F238E27FC236}">
                  <a16:creationId xmlns:a16="http://schemas.microsoft.com/office/drawing/2014/main" id="{85DC0718-B29F-47A6-931F-F0EF9FA99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tangle 64">
              <a:extLst>
                <a:ext uri="{FF2B5EF4-FFF2-40B4-BE49-F238E27FC236}">
                  <a16:creationId xmlns:a16="http://schemas.microsoft.com/office/drawing/2014/main" id="{AAED958D-AFCC-4BEF-818A-EFF7E41D17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tangle 66">
              <a:extLst>
                <a:ext uri="{FF2B5EF4-FFF2-40B4-BE49-F238E27FC236}">
                  <a16:creationId xmlns:a16="http://schemas.microsoft.com/office/drawing/2014/main" id="{C216DD5A-D1AE-429E-937E-456A50345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tangle 64">
              <a:extLst>
                <a:ext uri="{FF2B5EF4-FFF2-40B4-BE49-F238E27FC236}">
                  <a16:creationId xmlns:a16="http://schemas.microsoft.com/office/drawing/2014/main" id="{A845B253-9DEE-45AC-AADA-FAA6812C3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tangle 66">
              <a:extLst>
                <a:ext uri="{FF2B5EF4-FFF2-40B4-BE49-F238E27FC236}">
                  <a16:creationId xmlns:a16="http://schemas.microsoft.com/office/drawing/2014/main" id="{CE7B6CBF-757B-4B55-84CB-062B712D3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tangle 64">
              <a:extLst>
                <a:ext uri="{FF2B5EF4-FFF2-40B4-BE49-F238E27FC236}">
                  <a16:creationId xmlns:a16="http://schemas.microsoft.com/office/drawing/2014/main" id="{2CC28C7A-EF33-43D3-90CD-DCAC92546A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tangle 66">
              <a:extLst>
                <a:ext uri="{FF2B5EF4-FFF2-40B4-BE49-F238E27FC236}">
                  <a16:creationId xmlns:a16="http://schemas.microsoft.com/office/drawing/2014/main" id="{BC0C9DCF-F15B-4B7A-A16B-37B4335E6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tangle 64">
              <a:extLst>
                <a:ext uri="{FF2B5EF4-FFF2-40B4-BE49-F238E27FC236}">
                  <a16:creationId xmlns:a16="http://schemas.microsoft.com/office/drawing/2014/main" id="{94991FD1-406A-4958-87D4-8DFA9FEA4C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tangle 66">
              <a:extLst>
                <a:ext uri="{FF2B5EF4-FFF2-40B4-BE49-F238E27FC236}">
                  <a16:creationId xmlns:a16="http://schemas.microsoft.com/office/drawing/2014/main" id="{5CD32F69-27AD-4088-877C-E2A40F8B07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233984"/>
            <a:ext cx="493163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F3C958D-8E3B-97D4-859D-CED78FA57F9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163" y="4401614"/>
            <a:ext cx="1767091" cy="174942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14919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POS DE DIBUJ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900A6FE-D2D2-34CA-4262-2E005071645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5038" y="2756498"/>
            <a:ext cx="7700962" cy="3149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57390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8" name="Rectangle 1032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sp>
        <p:nvSpPr>
          <p:cNvPr id="1060" name="Rectangle 1034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93163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1F49CE81-B2F4-47B2-9D4A-886DCE0A8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65848" y="73152"/>
            <a:ext cx="957911" cy="232963"/>
            <a:chOff x="7763256" y="73152"/>
            <a:chExt cx="1178966" cy="232963"/>
          </a:xfrm>
        </p:grpSpPr>
        <p:sp>
          <p:nvSpPr>
            <p:cNvPr id="1038" name="Rectangle 64">
              <a:extLst>
                <a:ext uri="{FF2B5EF4-FFF2-40B4-BE49-F238E27FC236}">
                  <a16:creationId xmlns:a16="http://schemas.microsoft.com/office/drawing/2014/main" id="{4BE32177-3EAD-42DA-997C-8DAE1BFEE5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tangle 66">
              <a:extLst>
                <a:ext uri="{FF2B5EF4-FFF2-40B4-BE49-F238E27FC236}">
                  <a16:creationId xmlns:a16="http://schemas.microsoft.com/office/drawing/2014/main" id="{A0DEE160-9825-4DB5-8188-911AC13EA7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tangle 64">
              <a:extLst>
                <a:ext uri="{FF2B5EF4-FFF2-40B4-BE49-F238E27FC236}">
                  <a16:creationId xmlns:a16="http://schemas.microsoft.com/office/drawing/2014/main" id="{9C5FEDB5-0AEE-40E4-9CA6-6718B956D9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tangle 66">
              <a:extLst>
                <a:ext uri="{FF2B5EF4-FFF2-40B4-BE49-F238E27FC236}">
                  <a16:creationId xmlns:a16="http://schemas.microsoft.com/office/drawing/2014/main" id="{1A11DF2D-1D4B-45DA-906B-2A1F84C99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tangle 64">
              <a:extLst>
                <a:ext uri="{FF2B5EF4-FFF2-40B4-BE49-F238E27FC236}">
                  <a16:creationId xmlns:a16="http://schemas.microsoft.com/office/drawing/2014/main" id="{B6A5BAC0-9806-4124-A584-7F924A6589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tangle 66">
              <a:extLst>
                <a:ext uri="{FF2B5EF4-FFF2-40B4-BE49-F238E27FC236}">
                  <a16:creationId xmlns:a16="http://schemas.microsoft.com/office/drawing/2014/main" id="{A8F6BFA3-38BE-4F0A-94D9-EF0E6EA01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tangle 64">
              <a:extLst>
                <a:ext uri="{FF2B5EF4-FFF2-40B4-BE49-F238E27FC236}">
                  <a16:creationId xmlns:a16="http://schemas.microsoft.com/office/drawing/2014/main" id="{BE6BCF21-959F-419E-BCA4-B20AF92EF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tangle 66">
              <a:extLst>
                <a:ext uri="{FF2B5EF4-FFF2-40B4-BE49-F238E27FC236}">
                  <a16:creationId xmlns:a16="http://schemas.microsoft.com/office/drawing/2014/main" id="{54B6E037-E222-42EB-9AEB-C45EF2090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tangle 64">
              <a:extLst>
                <a:ext uri="{FF2B5EF4-FFF2-40B4-BE49-F238E27FC236}">
                  <a16:creationId xmlns:a16="http://schemas.microsoft.com/office/drawing/2014/main" id="{A0494426-372E-42B8-87E1-170F1B5969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tangle 66">
              <a:extLst>
                <a:ext uri="{FF2B5EF4-FFF2-40B4-BE49-F238E27FC236}">
                  <a16:creationId xmlns:a16="http://schemas.microsoft.com/office/drawing/2014/main" id="{14DB5AB5-5D73-4375-8CF4-DF4B7A5D7F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tangle 64">
              <a:extLst>
                <a:ext uri="{FF2B5EF4-FFF2-40B4-BE49-F238E27FC236}">
                  <a16:creationId xmlns:a16="http://schemas.microsoft.com/office/drawing/2014/main" id="{009B2A6E-6D36-4A9A-AFAA-CF4D859147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66">
              <a:extLst>
                <a:ext uri="{FF2B5EF4-FFF2-40B4-BE49-F238E27FC236}">
                  <a16:creationId xmlns:a16="http://schemas.microsoft.com/office/drawing/2014/main" id="{85DC0718-B29F-47A6-931F-F0EF9FA99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tangle 64">
              <a:extLst>
                <a:ext uri="{FF2B5EF4-FFF2-40B4-BE49-F238E27FC236}">
                  <a16:creationId xmlns:a16="http://schemas.microsoft.com/office/drawing/2014/main" id="{AAED958D-AFCC-4BEF-818A-EFF7E41D17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tangle 66">
              <a:extLst>
                <a:ext uri="{FF2B5EF4-FFF2-40B4-BE49-F238E27FC236}">
                  <a16:creationId xmlns:a16="http://schemas.microsoft.com/office/drawing/2014/main" id="{C216DD5A-D1AE-429E-937E-456A50345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tangle 64">
              <a:extLst>
                <a:ext uri="{FF2B5EF4-FFF2-40B4-BE49-F238E27FC236}">
                  <a16:creationId xmlns:a16="http://schemas.microsoft.com/office/drawing/2014/main" id="{A845B253-9DEE-45AC-AADA-FAA6812C3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tangle 66">
              <a:extLst>
                <a:ext uri="{FF2B5EF4-FFF2-40B4-BE49-F238E27FC236}">
                  <a16:creationId xmlns:a16="http://schemas.microsoft.com/office/drawing/2014/main" id="{CE7B6CBF-757B-4B55-84CB-062B712D3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tangle 64">
              <a:extLst>
                <a:ext uri="{FF2B5EF4-FFF2-40B4-BE49-F238E27FC236}">
                  <a16:creationId xmlns:a16="http://schemas.microsoft.com/office/drawing/2014/main" id="{2CC28C7A-EF33-43D3-90CD-DCAC92546A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tangle 66">
              <a:extLst>
                <a:ext uri="{FF2B5EF4-FFF2-40B4-BE49-F238E27FC236}">
                  <a16:creationId xmlns:a16="http://schemas.microsoft.com/office/drawing/2014/main" id="{BC0C9DCF-F15B-4B7A-A16B-37B4335E6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tangle 64">
              <a:extLst>
                <a:ext uri="{FF2B5EF4-FFF2-40B4-BE49-F238E27FC236}">
                  <a16:creationId xmlns:a16="http://schemas.microsoft.com/office/drawing/2014/main" id="{94991FD1-406A-4958-87D4-8DFA9FEA4C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tangle 66">
              <a:extLst>
                <a:ext uri="{FF2B5EF4-FFF2-40B4-BE49-F238E27FC236}">
                  <a16:creationId xmlns:a16="http://schemas.microsoft.com/office/drawing/2014/main" id="{5CD32F69-27AD-4088-877C-E2A40F8B07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233984"/>
            <a:ext cx="493163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STRUMENTOS EN EL DIBUJO TÉCNIC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21585C5-C1C3-372E-E051-409572651F8A}"/>
              </a:ext>
            </a:extLst>
          </p:cNvPr>
          <p:cNvSpPr txBox="1"/>
          <p:nvPr/>
        </p:nvSpPr>
        <p:spPr>
          <a:xfrm>
            <a:off x="561975" y="2383027"/>
            <a:ext cx="9291637" cy="430572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 fontScale="85000" lnSpcReduction="20000"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44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portador (graduador | goniómetro)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44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 función principal es la de medir ángulos, pero también se emplea para construirlos.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44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ene forma de círculo o semicírculo.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44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leva una graduación realizada normalmente en grados sexagesimales: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44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 círculo en 360º y el semicírculo en 180º</a:t>
            </a:r>
            <a:r>
              <a:rPr lang="es-MX" sz="44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6182751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8" name="Rectangle 1032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sp>
        <p:nvSpPr>
          <p:cNvPr id="1060" name="Rectangle 1034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93163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1F49CE81-B2F4-47B2-9D4A-886DCE0A8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65848" y="73152"/>
            <a:ext cx="957911" cy="232963"/>
            <a:chOff x="7763256" y="73152"/>
            <a:chExt cx="1178966" cy="232963"/>
          </a:xfrm>
        </p:grpSpPr>
        <p:sp>
          <p:nvSpPr>
            <p:cNvPr id="1038" name="Rectangle 64">
              <a:extLst>
                <a:ext uri="{FF2B5EF4-FFF2-40B4-BE49-F238E27FC236}">
                  <a16:creationId xmlns:a16="http://schemas.microsoft.com/office/drawing/2014/main" id="{4BE32177-3EAD-42DA-997C-8DAE1BFEE5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tangle 66">
              <a:extLst>
                <a:ext uri="{FF2B5EF4-FFF2-40B4-BE49-F238E27FC236}">
                  <a16:creationId xmlns:a16="http://schemas.microsoft.com/office/drawing/2014/main" id="{A0DEE160-9825-4DB5-8188-911AC13EA7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tangle 64">
              <a:extLst>
                <a:ext uri="{FF2B5EF4-FFF2-40B4-BE49-F238E27FC236}">
                  <a16:creationId xmlns:a16="http://schemas.microsoft.com/office/drawing/2014/main" id="{9C5FEDB5-0AEE-40E4-9CA6-6718B956D9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tangle 66">
              <a:extLst>
                <a:ext uri="{FF2B5EF4-FFF2-40B4-BE49-F238E27FC236}">
                  <a16:creationId xmlns:a16="http://schemas.microsoft.com/office/drawing/2014/main" id="{1A11DF2D-1D4B-45DA-906B-2A1F84C99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tangle 64">
              <a:extLst>
                <a:ext uri="{FF2B5EF4-FFF2-40B4-BE49-F238E27FC236}">
                  <a16:creationId xmlns:a16="http://schemas.microsoft.com/office/drawing/2014/main" id="{B6A5BAC0-9806-4124-A584-7F924A6589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tangle 66">
              <a:extLst>
                <a:ext uri="{FF2B5EF4-FFF2-40B4-BE49-F238E27FC236}">
                  <a16:creationId xmlns:a16="http://schemas.microsoft.com/office/drawing/2014/main" id="{A8F6BFA3-38BE-4F0A-94D9-EF0E6EA01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tangle 64">
              <a:extLst>
                <a:ext uri="{FF2B5EF4-FFF2-40B4-BE49-F238E27FC236}">
                  <a16:creationId xmlns:a16="http://schemas.microsoft.com/office/drawing/2014/main" id="{BE6BCF21-959F-419E-BCA4-B20AF92EF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tangle 66">
              <a:extLst>
                <a:ext uri="{FF2B5EF4-FFF2-40B4-BE49-F238E27FC236}">
                  <a16:creationId xmlns:a16="http://schemas.microsoft.com/office/drawing/2014/main" id="{54B6E037-E222-42EB-9AEB-C45EF2090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tangle 64">
              <a:extLst>
                <a:ext uri="{FF2B5EF4-FFF2-40B4-BE49-F238E27FC236}">
                  <a16:creationId xmlns:a16="http://schemas.microsoft.com/office/drawing/2014/main" id="{A0494426-372E-42B8-87E1-170F1B5969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tangle 66">
              <a:extLst>
                <a:ext uri="{FF2B5EF4-FFF2-40B4-BE49-F238E27FC236}">
                  <a16:creationId xmlns:a16="http://schemas.microsoft.com/office/drawing/2014/main" id="{14DB5AB5-5D73-4375-8CF4-DF4B7A5D7F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tangle 64">
              <a:extLst>
                <a:ext uri="{FF2B5EF4-FFF2-40B4-BE49-F238E27FC236}">
                  <a16:creationId xmlns:a16="http://schemas.microsoft.com/office/drawing/2014/main" id="{009B2A6E-6D36-4A9A-AFAA-CF4D859147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66">
              <a:extLst>
                <a:ext uri="{FF2B5EF4-FFF2-40B4-BE49-F238E27FC236}">
                  <a16:creationId xmlns:a16="http://schemas.microsoft.com/office/drawing/2014/main" id="{85DC0718-B29F-47A6-931F-F0EF9FA99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tangle 64">
              <a:extLst>
                <a:ext uri="{FF2B5EF4-FFF2-40B4-BE49-F238E27FC236}">
                  <a16:creationId xmlns:a16="http://schemas.microsoft.com/office/drawing/2014/main" id="{AAED958D-AFCC-4BEF-818A-EFF7E41D17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tangle 66">
              <a:extLst>
                <a:ext uri="{FF2B5EF4-FFF2-40B4-BE49-F238E27FC236}">
                  <a16:creationId xmlns:a16="http://schemas.microsoft.com/office/drawing/2014/main" id="{C216DD5A-D1AE-429E-937E-456A50345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tangle 64">
              <a:extLst>
                <a:ext uri="{FF2B5EF4-FFF2-40B4-BE49-F238E27FC236}">
                  <a16:creationId xmlns:a16="http://schemas.microsoft.com/office/drawing/2014/main" id="{A845B253-9DEE-45AC-AADA-FAA6812C3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tangle 66">
              <a:extLst>
                <a:ext uri="{FF2B5EF4-FFF2-40B4-BE49-F238E27FC236}">
                  <a16:creationId xmlns:a16="http://schemas.microsoft.com/office/drawing/2014/main" id="{CE7B6CBF-757B-4B55-84CB-062B712D3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tangle 64">
              <a:extLst>
                <a:ext uri="{FF2B5EF4-FFF2-40B4-BE49-F238E27FC236}">
                  <a16:creationId xmlns:a16="http://schemas.microsoft.com/office/drawing/2014/main" id="{2CC28C7A-EF33-43D3-90CD-DCAC92546A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tangle 66">
              <a:extLst>
                <a:ext uri="{FF2B5EF4-FFF2-40B4-BE49-F238E27FC236}">
                  <a16:creationId xmlns:a16="http://schemas.microsoft.com/office/drawing/2014/main" id="{BC0C9DCF-F15B-4B7A-A16B-37B4335E6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tangle 64">
              <a:extLst>
                <a:ext uri="{FF2B5EF4-FFF2-40B4-BE49-F238E27FC236}">
                  <a16:creationId xmlns:a16="http://schemas.microsoft.com/office/drawing/2014/main" id="{94991FD1-406A-4958-87D4-8DFA9FEA4C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tangle 66">
              <a:extLst>
                <a:ext uri="{FF2B5EF4-FFF2-40B4-BE49-F238E27FC236}">
                  <a16:creationId xmlns:a16="http://schemas.microsoft.com/office/drawing/2014/main" id="{5CD32F69-27AD-4088-877C-E2A40F8B07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233984"/>
            <a:ext cx="493163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STRUMENTOS EN EL DIBUJO TÉCNIC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A49F76B-EF48-2916-C05F-CB1D2258329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5334" y="2680804"/>
            <a:ext cx="2388866" cy="1471511"/>
          </a:xfrm>
          <a:prstGeom prst="rect">
            <a:avLst/>
          </a:prstGeom>
        </p:spPr>
      </p:pic>
      <p:pic>
        <p:nvPicPr>
          <p:cNvPr id="5122" name="Picture 2" descr="Transportador - Wikipedia, la enciclopedia libre">
            <a:extLst>
              <a:ext uri="{FF2B5EF4-FFF2-40B4-BE49-F238E27FC236}">
                <a16:creationId xmlns:a16="http://schemas.microsoft.com/office/drawing/2014/main" id="{6A7F5924-9D1E-DF3B-9CF9-2114BB5FD0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0361" y="5079247"/>
            <a:ext cx="2423743" cy="1357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Transportador - Wikipedia, la enciclopedia libre">
            <a:extLst>
              <a:ext uri="{FF2B5EF4-FFF2-40B4-BE49-F238E27FC236}">
                <a16:creationId xmlns:a16="http://schemas.microsoft.com/office/drawing/2014/main" id="{898B435B-CE6F-2A0A-D8E4-823BD73CA6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25500" y="2548646"/>
            <a:ext cx="3876675" cy="3859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Herramientas Para el Dibujo Técnico">
            <a:extLst>
              <a:ext uri="{FF2B5EF4-FFF2-40B4-BE49-F238E27FC236}">
                <a16:creationId xmlns:a16="http://schemas.microsoft.com/office/drawing/2014/main" id="{42CEC608-49E0-38E3-7D1D-F982AA15AB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36682" y="2538430"/>
            <a:ext cx="2619375" cy="175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Transportador 180º Dibujo Técnico Reglas Dozent - Pack X 10u | MercadoLibre">
            <a:extLst>
              <a:ext uri="{FF2B5EF4-FFF2-40B4-BE49-F238E27FC236}">
                <a16:creationId xmlns:a16="http://schemas.microsoft.com/office/drawing/2014/main" id="{608F5852-E181-57AB-C6DC-A0BED93190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53275" y="4779193"/>
            <a:ext cx="2752725" cy="1657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788122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POS DE LÍNEA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2981D8E-47CA-4CAE-3777-8567C758211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191" y="2844658"/>
            <a:ext cx="9125016" cy="3299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466951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POS DE LÍNEA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B6C4793-9E79-3500-F53A-5489FC2936A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2475" y="2638505"/>
            <a:ext cx="6229350" cy="362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704309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POS DE LÍNEA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7A4882C-AAB6-63ED-D10C-C2346ADADAE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16127" y="2593510"/>
            <a:ext cx="7700720" cy="3670232"/>
          </a:xfrm>
          <a:prstGeom prst="rect">
            <a:avLst/>
          </a:prstGeom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0ED2B4FC-A949-89FB-5A80-ED0D92AF81C3}"/>
              </a:ext>
            </a:extLst>
          </p:cNvPr>
          <p:cNvSpPr/>
          <p:nvPr/>
        </p:nvSpPr>
        <p:spPr>
          <a:xfrm>
            <a:off x="918714" y="2572716"/>
            <a:ext cx="1876874" cy="130872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291281792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POS DE LÍNEA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4323264-3AC5-14B1-A0A1-32D0FF0387D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3480" y="2981327"/>
            <a:ext cx="7940981" cy="3803521"/>
          </a:xfrm>
          <a:prstGeom prst="rect">
            <a:avLst/>
          </a:prstGeom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0ED2B4FC-A949-89FB-5A80-ED0D92AF81C3}"/>
              </a:ext>
            </a:extLst>
          </p:cNvPr>
          <p:cNvSpPr/>
          <p:nvPr/>
        </p:nvSpPr>
        <p:spPr>
          <a:xfrm>
            <a:off x="918714" y="2572716"/>
            <a:ext cx="1876874" cy="130872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391427499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8" name="Rectangle 1032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208032" y="80311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85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TALLER 1</a:t>
            </a:r>
          </a:p>
        </p:txBody>
      </p:sp>
      <p:sp>
        <p:nvSpPr>
          <p:cNvPr id="1060" name="Rectangle 1034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93163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1F49CE81-B2F4-47B2-9D4A-886DCE0A8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65848" y="73152"/>
            <a:ext cx="957911" cy="232963"/>
            <a:chOff x="7763256" y="73152"/>
            <a:chExt cx="1178966" cy="232963"/>
          </a:xfrm>
        </p:grpSpPr>
        <p:sp>
          <p:nvSpPr>
            <p:cNvPr id="1038" name="Rectangle 64">
              <a:extLst>
                <a:ext uri="{FF2B5EF4-FFF2-40B4-BE49-F238E27FC236}">
                  <a16:creationId xmlns:a16="http://schemas.microsoft.com/office/drawing/2014/main" id="{4BE32177-3EAD-42DA-997C-8DAE1BFEE5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tangle 66">
              <a:extLst>
                <a:ext uri="{FF2B5EF4-FFF2-40B4-BE49-F238E27FC236}">
                  <a16:creationId xmlns:a16="http://schemas.microsoft.com/office/drawing/2014/main" id="{A0DEE160-9825-4DB5-8188-911AC13EA7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tangle 64">
              <a:extLst>
                <a:ext uri="{FF2B5EF4-FFF2-40B4-BE49-F238E27FC236}">
                  <a16:creationId xmlns:a16="http://schemas.microsoft.com/office/drawing/2014/main" id="{9C5FEDB5-0AEE-40E4-9CA6-6718B956D9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tangle 66">
              <a:extLst>
                <a:ext uri="{FF2B5EF4-FFF2-40B4-BE49-F238E27FC236}">
                  <a16:creationId xmlns:a16="http://schemas.microsoft.com/office/drawing/2014/main" id="{1A11DF2D-1D4B-45DA-906B-2A1F84C99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tangle 64">
              <a:extLst>
                <a:ext uri="{FF2B5EF4-FFF2-40B4-BE49-F238E27FC236}">
                  <a16:creationId xmlns:a16="http://schemas.microsoft.com/office/drawing/2014/main" id="{B6A5BAC0-9806-4124-A584-7F924A6589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tangle 66">
              <a:extLst>
                <a:ext uri="{FF2B5EF4-FFF2-40B4-BE49-F238E27FC236}">
                  <a16:creationId xmlns:a16="http://schemas.microsoft.com/office/drawing/2014/main" id="{A8F6BFA3-38BE-4F0A-94D9-EF0E6EA01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tangle 64">
              <a:extLst>
                <a:ext uri="{FF2B5EF4-FFF2-40B4-BE49-F238E27FC236}">
                  <a16:creationId xmlns:a16="http://schemas.microsoft.com/office/drawing/2014/main" id="{BE6BCF21-959F-419E-BCA4-B20AF92EF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tangle 66">
              <a:extLst>
                <a:ext uri="{FF2B5EF4-FFF2-40B4-BE49-F238E27FC236}">
                  <a16:creationId xmlns:a16="http://schemas.microsoft.com/office/drawing/2014/main" id="{54B6E037-E222-42EB-9AEB-C45EF2090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tangle 64">
              <a:extLst>
                <a:ext uri="{FF2B5EF4-FFF2-40B4-BE49-F238E27FC236}">
                  <a16:creationId xmlns:a16="http://schemas.microsoft.com/office/drawing/2014/main" id="{A0494426-372E-42B8-87E1-170F1B5969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tangle 66">
              <a:extLst>
                <a:ext uri="{FF2B5EF4-FFF2-40B4-BE49-F238E27FC236}">
                  <a16:creationId xmlns:a16="http://schemas.microsoft.com/office/drawing/2014/main" id="{14DB5AB5-5D73-4375-8CF4-DF4B7A5D7F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tangle 64">
              <a:extLst>
                <a:ext uri="{FF2B5EF4-FFF2-40B4-BE49-F238E27FC236}">
                  <a16:creationId xmlns:a16="http://schemas.microsoft.com/office/drawing/2014/main" id="{009B2A6E-6D36-4A9A-AFAA-CF4D859147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66">
              <a:extLst>
                <a:ext uri="{FF2B5EF4-FFF2-40B4-BE49-F238E27FC236}">
                  <a16:creationId xmlns:a16="http://schemas.microsoft.com/office/drawing/2014/main" id="{85DC0718-B29F-47A6-931F-F0EF9FA99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tangle 64">
              <a:extLst>
                <a:ext uri="{FF2B5EF4-FFF2-40B4-BE49-F238E27FC236}">
                  <a16:creationId xmlns:a16="http://schemas.microsoft.com/office/drawing/2014/main" id="{AAED958D-AFCC-4BEF-818A-EFF7E41D17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tangle 66">
              <a:extLst>
                <a:ext uri="{FF2B5EF4-FFF2-40B4-BE49-F238E27FC236}">
                  <a16:creationId xmlns:a16="http://schemas.microsoft.com/office/drawing/2014/main" id="{C216DD5A-D1AE-429E-937E-456A50345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tangle 64">
              <a:extLst>
                <a:ext uri="{FF2B5EF4-FFF2-40B4-BE49-F238E27FC236}">
                  <a16:creationId xmlns:a16="http://schemas.microsoft.com/office/drawing/2014/main" id="{A845B253-9DEE-45AC-AADA-FAA6812C3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tangle 66">
              <a:extLst>
                <a:ext uri="{FF2B5EF4-FFF2-40B4-BE49-F238E27FC236}">
                  <a16:creationId xmlns:a16="http://schemas.microsoft.com/office/drawing/2014/main" id="{CE7B6CBF-757B-4B55-84CB-062B712D3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tangle 64">
              <a:extLst>
                <a:ext uri="{FF2B5EF4-FFF2-40B4-BE49-F238E27FC236}">
                  <a16:creationId xmlns:a16="http://schemas.microsoft.com/office/drawing/2014/main" id="{2CC28C7A-EF33-43D3-90CD-DCAC92546A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tangle 66">
              <a:extLst>
                <a:ext uri="{FF2B5EF4-FFF2-40B4-BE49-F238E27FC236}">
                  <a16:creationId xmlns:a16="http://schemas.microsoft.com/office/drawing/2014/main" id="{BC0C9DCF-F15B-4B7A-A16B-37B4335E6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tangle 64">
              <a:extLst>
                <a:ext uri="{FF2B5EF4-FFF2-40B4-BE49-F238E27FC236}">
                  <a16:creationId xmlns:a16="http://schemas.microsoft.com/office/drawing/2014/main" id="{94991FD1-406A-4958-87D4-8DFA9FEA4C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tangle 66">
              <a:extLst>
                <a:ext uri="{FF2B5EF4-FFF2-40B4-BE49-F238E27FC236}">
                  <a16:creationId xmlns:a16="http://schemas.microsoft.com/office/drawing/2014/main" id="{5CD32F69-27AD-4088-877C-E2A40F8B07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366610" y="25504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233984"/>
            <a:ext cx="493163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F3C958D-8E3B-97D4-859D-CED78FA57F9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3108" y="5433023"/>
            <a:ext cx="1365480" cy="135182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9E2772A-D90C-5E37-F46A-348F8D6546EF}"/>
              </a:ext>
            </a:extLst>
          </p:cNvPr>
          <p:cNvSpPr txBox="1"/>
          <p:nvPr/>
        </p:nvSpPr>
        <p:spPr>
          <a:xfrm>
            <a:off x="2636214" y="1704690"/>
            <a:ext cx="7269786" cy="107874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s-EC" sz="2400" b="1" dirty="0">
              <a:solidFill>
                <a:srgbClr val="004083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60EB53-9B2D-8B8B-E125-2AA735DF74DE}"/>
              </a:ext>
            </a:extLst>
          </p:cNvPr>
          <p:cNvSpPr txBox="1"/>
          <p:nvPr/>
        </p:nvSpPr>
        <p:spPr>
          <a:xfrm>
            <a:off x="982103" y="650945"/>
            <a:ext cx="3970897" cy="12350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b">
            <a:normAutofit fontScale="925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strumentos</a:t>
            </a:r>
            <a:r>
              <a:rPr lang="en-US" sz="3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 </a:t>
            </a:r>
            <a:r>
              <a:rPr lang="en-US" sz="38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básicos</a:t>
            </a:r>
            <a:r>
              <a:rPr lang="en-US" sz="3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 del </a:t>
            </a:r>
            <a:r>
              <a:rPr lang="en-US" sz="38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Dibujo</a:t>
            </a:r>
            <a:r>
              <a:rPr lang="en-US" sz="3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 Técnico</a:t>
            </a:r>
          </a:p>
        </p:txBody>
      </p:sp>
      <p:pic>
        <p:nvPicPr>
          <p:cNvPr id="9" name="Online Media 8" title="Instrumentos básicos del dibujo y su utilización">
            <a:hlinkClick r:id="" action="ppaction://media"/>
            <a:extLst>
              <a:ext uri="{FF2B5EF4-FFF2-40B4-BE49-F238E27FC236}">
                <a16:creationId xmlns:a16="http://schemas.microsoft.com/office/drawing/2014/main" id="{E29C5712-537C-9B48-97BA-35E9D2CC9521}"/>
              </a:ext>
            </a:extLst>
          </p:cNvPr>
          <p:cNvPicPr>
            <a:picLocks noRot="1" noChangeAspect="1"/>
          </p:cNvPicPr>
          <p:nvPr>
            <a:videoFile r:link="rId1"/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1778059" y="2047205"/>
            <a:ext cx="7959658" cy="4497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1927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8" name="Rectangle 1032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1451804" y="549304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85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TALLER 1</a:t>
            </a:r>
          </a:p>
        </p:txBody>
      </p:sp>
      <p:sp>
        <p:nvSpPr>
          <p:cNvPr id="1060" name="Rectangle 1034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93163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1F49CE81-B2F4-47B2-9D4A-886DCE0A8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65848" y="73152"/>
            <a:ext cx="957911" cy="232963"/>
            <a:chOff x="7763256" y="73152"/>
            <a:chExt cx="1178966" cy="232963"/>
          </a:xfrm>
        </p:grpSpPr>
        <p:sp>
          <p:nvSpPr>
            <p:cNvPr id="1038" name="Rectangle 64">
              <a:extLst>
                <a:ext uri="{FF2B5EF4-FFF2-40B4-BE49-F238E27FC236}">
                  <a16:creationId xmlns:a16="http://schemas.microsoft.com/office/drawing/2014/main" id="{4BE32177-3EAD-42DA-997C-8DAE1BFEE5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tangle 66">
              <a:extLst>
                <a:ext uri="{FF2B5EF4-FFF2-40B4-BE49-F238E27FC236}">
                  <a16:creationId xmlns:a16="http://schemas.microsoft.com/office/drawing/2014/main" id="{A0DEE160-9825-4DB5-8188-911AC13EA7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tangle 64">
              <a:extLst>
                <a:ext uri="{FF2B5EF4-FFF2-40B4-BE49-F238E27FC236}">
                  <a16:creationId xmlns:a16="http://schemas.microsoft.com/office/drawing/2014/main" id="{9C5FEDB5-0AEE-40E4-9CA6-6718B956D9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tangle 66">
              <a:extLst>
                <a:ext uri="{FF2B5EF4-FFF2-40B4-BE49-F238E27FC236}">
                  <a16:creationId xmlns:a16="http://schemas.microsoft.com/office/drawing/2014/main" id="{1A11DF2D-1D4B-45DA-906B-2A1F84C99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tangle 64">
              <a:extLst>
                <a:ext uri="{FF2B5EF4-FFF2-40B4-BE49-F238E27FC236}">
                  <a16:creationId xmlns:a16="http://schemas.microsoft.com/office/drawing/2014/main" id="{B6A5BAC0-9806-4124-A584-7F924A6589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tangle 66">
              <a:extLst>
                <a:ext uri="{FF2B5EF4-FFF2-40B4-BE49-F238E27FC236}">
                  <a16:creationId xmlns:a16="http://schemas.microsoft.com/office/drawing/2014/main" id="{A8F6BFA3-38BE-4F0A-94D9-EF0E6EA01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tangle 64">
              <a:extLst>
                <a:ext uri="{FF2B5EF4-FFF2-40B4-BE49-F238E27FC236}">
                  <a16:creationId xmlns:a16="http://schemas.microsoft.com/office/drawing/2014/main" id="{BE6BCF21-959F-419E-BCA4-B20AF92EF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tangle 66">
              <a:extLst>
                <a:ext uri="{FF2B5EF4-FFF2-40B4-BE49-F238E27FC236}">
                  <a16:creationId xmlns:a16="http://schemas.microsoft.com/office/drawing/2014/main" id="{54B6E037-E222-42EB-9AEB-C45EF2090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tangle 64">
              <a:extLst>
                <a:ext uri="{FF2B5EF4-FFF2-40B4-BE49-F238E27FC236}">
                  <a16:creationId xmlns:a16="http://schemas.microsoft.com/office/drawing/2014/main" id="{A0494426-372E-42B8-87E1-170F1B5969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tangle 66">
              <a:extLst>
                <a:ext uri="{FF2B5EF4-FFF2-40B4-BE49-F238E27FC236}">
                  <a16:creationId xmlns:a16="http://schemas.microsoft.com/office/drawing/2014/main" id="{14DB5AB5-5D73-4375-8CF4-DF4B7A5D7F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tangle 64">
              <a:extLst>
                <a:ext uri="{FF2B5EF4-FFF2-40B4-BE49-F238E27FC236}">
                  <a16:creationId xmlns:a16="http://schemas.microsoft.com/office/drawing/2014/main" id="{009B2A6E-6D36-4A9A-AFAA-CF4D859147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66">
              <a:extLst>
                <a:ext uri="{FF2B5EF4-FFF2-40B4-BE49-F238E27FC236}">
                  <a16:creationId xmlns:a16="http://schemas.microsoft.com/office/drawing/2014/main" id="{85DC0718-B29F-47A6-931F-F0EF9FA99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tangle 64">
              <a:extLst>
                <a:ext uri="{FF2B5EF4-FFF2-40B4-BE49-F238E27FC236}">
                  <a16:creationId xmlns:a16="http://schemas.microsoft.com/office/drawing/2014/main" id="{AAED958D-AFCC-4BEF-818A-EFF7E41D17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tangle 66">
              <a:extLst>
                <a:ext uri="{FF2B5EF4-FFF2-40B4-BE49-F238E27FC236}">
                  <a16:creationId xmlns:a16="http://schemas.microsoft.com/office/drawing/2014/main" id="{C216DD5A-D1AE-429E-937E-456A50345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tangle 64">
              <a:extLst>
                <a:ext uri="{FF2B5EF4-FFF2-40B4-BE49-F238E27FC236}">
                  <a16:creationId xmlns:a16="http://schemas.microsoft.com/office/drawing/2014/main" id="{A845B253-9DEE-45AC-AADA-FAA6812C3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tangle 66">
              <a:extLst>
                <a:ext uri="{FF2B5EF4-FFF2-40B4-BE49-F238E27FC236}">
                  <a16:creationId xmlns:a16="http://schemas.microsoft.com/office/drawing/2014/main" id="{CE7B6CBF-757B-4B55-84CB-062B712D3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tangle 64">
              <a:extLst>
                <a:ext uri="{FF2B5EF4-FFF2-40B4-BE49-F238E27FC236}">
                  <a16:creationId xmlns:a16="http://schemas.microsoft.com/office/drawing/2014/main" id="{2CC28C7A-EF33-43D3-90CD-DCAC92546A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tangle 66">
              <a:extLst>
                <a:ext uri="{FF2B5EF4-FFF2-40B4-BE49-F238E27FC236}">
                  <a16:creationId xmlns:a16="http://schemas.microsoft.com/office/drawing/2014/main" id="{BC0C9DCF-F15B-4B7A-A16B-37B4335E6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tangle 64">
              <a:extLst>
                <a:ext uri="{FF2B5EF4-FFF2-40B4-BE49-F238E27FC236}">
                  <a16:creationId xmlns:a16="http://schemas.microsoft.com/office/drawing/2014/main" id="{94991FD1-406A-4958-87D4-8DFA9FEA4C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tangle 66">
              <a:extLst>
                <a:ext uri="{FF2B5EF4-FFF2-40B4-BE49-F238E27FC236}">
                  <a16:creationId xmlns:a16="http://schemas.microsoft.com/office/drawing/2014/main" id="{5CD32F69-27AD-4088-877C-E2A40F8B07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08396" y="-42379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233984"/>
            <a:ext cx="493163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F3C958D-8E3B-97D4-859D-CED78FA57F9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146" y="4582859"/>
            <a:ext cx="2034068" cy="201372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708729" y="1469981"/>
            <a:ext cx="8981705" cy="63406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 lnSpcReduction="10000"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rea 02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A3C5A4-AA43-772C-C217-AF244CBB1E59}"/>
              </a:ext>
            </a:extLst>
          </p:cNvPr>
          <p:cNvSpPr txBox="1"/>
          <p:nvPr/>
        </p:nvSpPr>
        <p:spPr>
          <a:xfrm>
            <a:off x="671883" y="2104046"/>
            <a:ext cx="8981705" cy="468080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 fontScale="92500" lnSpcReduction="20000"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Times New Roman" panose="02020603050405020304" pitchFamily="18" charset="0"/>
              </a:rPr>
              <a:t>Realiza un video corto de no más de 90 segundos en la plataforma de tu gusto y súbelo a la red social o web de tu preferencia, por ejemplo, </a:t>
            </a:r>
            <a:r>
              <a:rPr lang="es-EC" sz="3600" dirty="0" err="1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Times New Roman" panose="02020603050405020304" pitchFamily="18" charset="0"/>
              </a:rPr>
              <a:t>reels</a:t>
            </a:r>
            <a:r>
              <a:rPr lang="es-EC" sz="3600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Times New Roman" panose="02020603050405020304" pitchFamily="18" charset="0"/>
              </a:rPr>
              <a:t> de Instagram o Facebook, </a:t>
            </a:r>
            <a:r>
              <a:rPr lang="es-EC" sz="3600" dirty="0" err="1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Times New Roman" panose="02020603050405020304" pitchFamily="18" charset="0"/>
              </a:rPr>
              <a:t>Tik</a:t>
            </a:r>
            <a:r>
              <a:rPr lang="es-EC" sz="3600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EC" sz="3600" dirty="0" err="1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Times New Roman" panose="02020603050405020304" pitchFamily="18" charset="0"/>
              </a:rPr>
              <a:t>Tok</a:t>
            </a:r>
            <a:r>
              <a:rPr lang="es-EC" sz="3600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Times New Roman" panose="02020603050405020304" pitchFamily="18" charset="0"/>
              </a:rPr>
              <a:t>, Kwai, </a:t>
            </a:r>
            <a:r>
              <a:rPr lang="es-EC" sz="3600" dirty="0" err="1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Times New Roman" panose="02020603050405020304" pitchFamily="18" charset="0"/>
              </a:rPr>
              <a:t>Youtube</a:t>
            </a:r>
            <a:r>
              <a:rPr lang="es-EC" sz="3600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Times New Roman" panose="02020603050405020304" pitchFamily="18" charset="0"/>
              </a:rPr>
              <a:t> shorts, entre otras.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 tu video debes explicar con mucha creatividad, uno de los tipos de dibujo y el uso de uno de los instrumentos de dibujo que puedas utilizar en este tipo de dibujo.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es-EC" sz="2600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613872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8" name="Rectangle 1032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1451804" y="549304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85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TALLER 1</a:t>
            </a:r>
          </a:p>
        </p:txBody>
      </p:sp>
      <p:sp>
        <p:nvSpPr>
          <p:cNvPr id="1060" name="Rectangle 1034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93163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1F49CE81-B2F4-47B2-9D4A-886DCE0A8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65848" y="73152"/>
            <a:ext cx="957911" cy="232963"/>
            <a:chOff x="7763256" y="73152"/>
            <a:chExt cx="1178966" cy="232963"/>
          </a:xfrm>
        </p:grpSpPr>
        <p:sp>
          <p:nvSpPr>
            <p:cNvPr id="1038" name="Rectangle 64">
              <a:extLst>
                <a:ext uri="{FF2B5EF4-FFF2-40B4-BE49-F238E27FC236}">
                  <a16:creationId xmlns:a16="http://schemas.microsoft.com/office/drawing/2014/main" id="{4BE32177-3EAD-42DA-997C-8DAE1BFEE5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tangle 66">
              <a:extLst>
                <a:ext uri="{FF2B5EF4-FFF2-40B4-BE49-F238E27FC236}">
                  <a16:creationId xmlns:a16="http://schemas.microsoft.com/office/drawing/2014/main" id="{A0DEE160-9825-4DB5-8188-911AC13EA7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tangle 64">
              <a:extLst>
                <a:ext uri="{FF2B5EF4-FFF2-40B4-BE49-F238E27FC236}">
                  <a16:creationId xmlns:a16="http://schemas.microsoft.com/office/drawing/2014/main" id="{9C5FEDB5-0AEE-40E4-9CA6-6718B956D9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tangle 66">
              <a:extLst>
                <a:ext uri="{FF2B5EF4-FFF2-40B4-BE49-F238E27FC236}">
                  <a16:creationId xmlns:a16="http://schemas.microsoft.com/office/drawing/2014/main" id="{1A11DF2D-1D4B-45DA-906B-2A1F84C99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tangle 64">
              <a:extLst>
                <a:ext uri="{FF2B5EF4-FFF2-40B4-BE49-F238E27FC236}">
                  <a16:creationId xmlns:a16="http://schemas.microsoft.com/office/drawing/2014/main" id="{B6A5BAC0-9806-4124-A584-7F924A6589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tangle 66">
              <a:extLst>
                <a:ext uri="{FF2B5EF4-FFF2-40B4-BE49-F238E27FC236}">
                  <a16:creationId xmlns:a16="http://schemas.microsoft.com/office/drawing/2014/main" id="{A8F6BFA3-38BE-4F0A-94D9-EF0E6EA01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tangle 64">
              <a:extLst>
                <a:ext uri="{FF2B5EF4-FFF2-40B4-BE49-F238E27FC236}">
                  <a16:creationId xmlns:a16="http://schemas.microsoft.com/office/drawing/2014/main" id="{BE6BCF21-959F-419E-BCA4-B20AF92EF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tangle 66">
              <a:extLst>
                <a:ext uri="{FF2B5EF4-FFF2-40B4-BE49-F238E27FC236}">
                  <a16:creationId xmlns:a16="http://schemas.microsoft.com/office/drawing/2014/main" id="{54B6E037-E222-42EB-9AEB-C45EF2090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tangle 64">
              <a:extLst>
                <a:ext uri="{FF2B5EF4-FFF2-40B4-BE49-F238E27FC236}">
                  <a16:creationId xmlns:a16="http://schemas.microsoft.com/office/drawing/2014/main" id="{A0494426-372E-42B8-87E1-170F1B5969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tangle 66">
              <a:extLst>
                <a:ext uri="{FF2B5EF4-FFF2-40B4-BE49-F238E27FC236}">
                  <a16:creationId xmlns:a16="http://schemas.microsoft.com/office/drawing/2014/main" id="{14DB5AB5-5D73-4375-8CF4-DF4B7A5D7F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tangle 64">
              <a:extLst>
                <a:ext uri="{FF2B5EF4-FFF2-40B4-BE49-F238E27FC236}">
                  <a16:creationId xmlns:a16="http://schemas.microsoft.com/office/drawing/2014/main" id="{009B2A6E-6D36-4A9A-AFAA-CF4D859147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66">
              <a:extLst>
                <a:ext uri="{FF2B5EF4-FFF2-40B4-BE49-F238E27FC236}">
                  <a16:creationId xmlns:a16="http://schemas.microsoft.com/office/drawing/2014/main" id="{85DC0718-B29F-47A6-931F-F0EF9FA99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tangle 64">
              <a:extLst>
                <a:ext uri="{FF2B5EF4-FFF2-40B4-BE49-F238E27FC236}">
                  <a16:creationId xmlns:a16="http://schemas.microsoft.com/office/drawing/2014/main" id="{AAED958D-AFCC-4BEF-818A-EFF7E41D17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tangle 66">
              <a:extLst>
                <a:ext uri="{FF2B5EF4-FFF2-40B4-BE49-F238E27FC236}">
                  <a16:creationId xmlns:a16="http://schemas.microsoft.com/office/drawing/2014/main" id="{C216DD5A-D1AE-429E-937E-456A50345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tangle 64">
              <a:extLst>
                <a:ext uri="{FF2B5EF4-FFF2-40B4-BE49-F238E27FC236}">
                  <a16:creationId xmlns:a16="http://schemas.microsoft.com/office/drawing/2014/main" id="{A845B253-9DEE-45AC-AADA-FAA6812C3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tangle 66">
              <a:extLst>
                <a:ext uri="{FF2B5EF4-FFF2-40B4-BE49-F238E27FC236}">
                  <a16:creationId xmlns:a16="http://schemas.microsoft.com/office/drawing/2014/main" id="{CE7B6CBF-757B-4B55-84CB-062B712D3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tangle 64">
              <a:extLst>
                <a:ext uri="{FF2B5EF4-FFF2-40B4-BE49-F238E27FC236}">
                  <a16:creationId xmlns:a16="http://schemas.microsoft.com/office/drawing/2014/main" id="{2CC28C7A-EF33-43D3-90CD-DCAC92546A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tangle 66">
              <a:extLst>
                <a:ext uri="{FF2B5EF4-FFF2-40B4-BE49-F238E27FC236}">
                  <a16:creationId xmlns:a16="http://schemas.microsoft.com/office/drawing/2014/main" id="{BC0C9DCF-F15B-4B7A-A16B-37B4335E6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tangle 64">
              <a:extLst>
                <a:ext uri="{FF2B5EF4-FFF2-40B4-BE49-F238E27FC236}">
                  <a16:creationId xmlns:a16="http://schemas.microsoft.com/office/drawing/2014/main" id="{94991FD1-406A-4958-87D4-8DFA9FEA4C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tangle 66">
              <a:extLst>
                <a:ext uri="{FF2B5EF4-FFF2-40B4-BE49-F238E27FC236}">
                  <a16:creationId xmlns:a16="http://schemas.microsoft.com/office/drawing/2014/main" id="{5CD32F69-27AD-4088-877C-E2A40F8B07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233984"/>
            <a:ext cx="493163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F3C958D-8E3B-97D4-859D-CED78FA57F9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146" y="4582859"/>
            <a:ext cx="2034068" cy="201372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743320" y="1506856"/>
            <a:ext cx="8981705" cy="63406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 lnSpcReduction="10000"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ta importante: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A3C5A4-AA43-772C-C217-AF244CBB1E59}"/>
              </a:ext>
            </a:extLst>
          </p:cNvPr>
          <p:cNvSpPr txBox="1"/>
          <p:nvPr/>
        </p:nvSpPr>
        <p:spPr>
          <a:xfrm>
            <a:off x="671883" y="2370016"/>
            <a:ext cx="8981705" cy="399744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 fontScale="62500" lnSpcReduction="20000"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vía dentro de un archivo de Word el enlace donde se encuentra tu vídeo.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 te olvides de revisar que el enlace funcione y sea público para poder revisar tu video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es-EC" sz="3600" b="1" dirty="0">
              <a:solidFill>
                <a:srgbClr val="004083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spones hasta las 23h59 del martes 04 de julio para subir tu tarea.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 nombre del archivo de Word con extensión </a:t>
            </a:r>
            <a:r>
              <a:rPr lang="es-EC" sz="3600" b="1" dirty="0" err="1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c</a:t>
            </a:r>
            <a:r>
              <a:rPr lang="es-EC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 docx será: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dirty="0">
                <a:solidFill>
                  <a:srgbClr val="004083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rea 02-Num de lista-Nombres y Apellidos.pdf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jemplo: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2600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rea 02- 00-Jorge Eduardo Ortiz Maldonado.pdf</a:t>
            </a:r>
          </a:p>
        </p:txBody>
      </p:sp>
    </p:spTree>
    <p:extLst>
      <p:ext uri="{BB962C8B-B14F-4D97-AF65-F5344CB8AC3E}">
        <p14:creationId xmlns:p14="http://schemas.microsoft.com/office/powerpoint/2010/main" val="402090812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8" name="Rectangle 1032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1451804" y="549304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85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TALLER 1</a:t>
            </a:r>
          </a:p>
        </p:txBody>
      </p:sp>
      <p:sp>
        <p:nvSpPr>
          <p:cNvPr id="1060" name="Rectangle 1034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93163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1F49CE81-B2F4-47B2-9D4A-886DCE0A8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65848" y="73152"/>
            <a:ext cx="957911" cy="232963"/>
            <a:chOff x="7763256" y="73152"/>
            <a:chExt cx="1178966" cy="232963"/>
          </a:xfrm>
        </p:grpSpPr>
        <p:sp>
          <p:nvSpPr>
            <p:cNvPr id="1038" name="Rectangle 64">
              <a:extLst>
                <a:ext uri="{FF2B5EF4-FFF2-40B4-BE49-F238E27FC236}">
                  <a16:creationId xmlns:a16="http://schemas.microsoft.com/office/drawing/2014/main" id="{4BE32177-3EAD-42DA-997C-8DAE1BFEE5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tangle 66">
              <a:extLst>
                <a:ext uri="{FF2B5EF4-FFF2-40B4-BE49-F238E27FC236}">
                  <a16:creationId xmlns:a16="http://schemas.microsoft.com/office/drawing/2014/main" id="{A0DEE160-9825-4DB5-8188-911AC13EA7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tangle 64">
              <a:extLst>
                <a:ext uri="{FF2B5EF4-FFF2-40B4-BE49-F238E27FC236}">
                  <a16:creationId xmlns:a16="http://schemas.microsoft.com/office/drawing/2014/main" id="{9C5FEDB5-0AEE-40E4-9CA6-6718B956D9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tangle 66">
              <a:extLst>
                <a:ext uri="{FF2B5EF4-FFF2-40B4-BE49-F238E27FC236}">
                  <a16:creationId xmlns:a16="http://schemas.microsoft.com/office/drawing/2014/main" id="{1A11DF2D-1D4B-45DA-906B-2A1F84C99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tangle 64">
              <a:extLst>
                <a:ext uri="{FF2B5EF4-FFF2-40B4-BE49-F238E27FC236}">
                  <a16:creationId xmlns:a16="http://schemas.microsoft.com/office/drawing/2014/main" id="{B6A5BAC0-9806-4124-A584-7F924A6589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tangle 66">
              <a:extLst>
                <a:ext uri="{FF2B5EF4-FFF2-40B4-BE49-F238E27FC236}">
                  <a16:creationId xmlns:a16="http://schemas.microsoft.com/office/drawing/2014/main" id="{A8F6BFA3-38BE-4F0A-94D9-EF0E6EA01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tangle 64">
              <a:extLst>
                <a:ext uri="{FF2B5EF4-FFF2-40B4-BE49-F238E27FC236}">
                  <a16:creationId xmlns:a16="http://schemas.microsoft.com/office/drawing/2014/main" id="{BE6BCF21-959F-419E-BCA4-B20AF92EF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tangle 66">
              <a:extLst>
                <a:ext uri="{FF2B5EF4-FFF2-40B4-BE49-F238E27FC236}">
                  <a16:creationId xmlns:a16="http://schemas.microsoft.com/office/drawing/2014/main" id="{54B6E037-E222-42EB-9AEB-C45EF2090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tangle 64">
              <a:extLst>
                <a:ext uri="{FF2B5EF4-FFF2-40B4-BE49-F238E27FC236}">
                  <a16:creationId xmlns:a16="http://schemas.microsoft.com/office/drawing/2014/main" id="{A0494426-372E-42B8-87E1-170F1B5969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tangle 66">
              <a:extLst>
                <a:ext uri="{FF2B5EF4-FFF2-40B4-BE49-F238E27FC236}">
                  <a16:creationId xmlns:a16="http://schemas.microsoft.com/office/drawing/2014/main" id="{14DB5AB5-5D73-4375-8CF4-DF4B7A5D7F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tangle 64">
              <a:extLst>
                <a:ext uri="{FF2B5EF4-FFF2-40B4-BE49-F238E27FC236}">
                  <a16:creationId xmlns:a16="http://schemas.microsoft.com/office/drawing/2014/main" id="{009B2A6E-6D36-4A9A-AFAA-CF4D859147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66">
              <a:extLst>
                <a:ext uri="{FF2B5EF4-FFF2-40B4-BE49-F238E27FC236}">
                  <a16:creationId xmlns:a16="http://schemas.microsoft.com/office/drawing/2014/main" id="{85DC0718-B29F-47A6-931F-F0EF9FA99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tangle 64">
              <a:extLst>
                <a:ext uri="{FF2B5EF4-FFF2-40B4-BE49-F238E27FC236}">
                  <a16:creationId xmlns:a16="http://schemas.microsoft.com/office/drawing/2014/main" id="{AAED958D-AFCC-4BEF-818A-EFF7E41D17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tangle 66">
              <a:extLst>
                <a:ext uri="{FF2B5EF4-FFF2-40B4-BE49-F238E27FC236}">
                  <a16:creationId xmlns:a16="http://schemas.microsoft.com/office/drawing/2014/main" id="{C216DD5A-D1AE-429E-937E-456A50345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tangle 64">
              <a:extLst>
                <a:ext uri="{FF2B5EF4-FFF2-40B4-BE49-F238E27FC236}">
                  <a16:creationId xmlns:a16="http://schemas.microsoft.com/office/drawing/2014/main" id="{A845B253-9DEE-45AC-AADA-FAA6812C3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tangle 66">
              <a:extLst>
                <a:ext uri="{FF2B5EF4-FFF2-40B4-BE49-F238E27FC236}">
                  <a16:creationId xmlns:a16="http://schemas.microsoft.com/office/drawing/2014/main" id="{CE7B6CBF-757B-4B55-84CB-062B712D3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tangle 64">
              <a:extLst>
                <a:ext uri="{FF2B5EF4-FFF2-40B4-BE49-F238E27FC236}">
                  <a16:creationId xmlns:a16="http://schemas.microsoft.com/office/drawing/2014/main" id="{2CC28C7A-EF33-43D3-90CD-DCAC92546A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tangle 66">
              <a:extLst>
                <a:ext uri="{FF2B5EF4-FFF2-40B4-BE49-F238E27FC236}">
                  <a16:creationId xmlns:a16="http://schemas.microsoft.com/office/drawing/2014/main" id="{BC0C9DCF-F15B-4B7A-A16B-37B4335E6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tangle 64">
              <a:extLst>
                <a:ext uri="{FF2B5EF4-FFF2-40B4-BE49-F238E27FC236}">
                  <a16:creationId xmlns:a16="http://schemas.microsoft.com/office/drawing/2014/main" id="{94991FD1-406A-4958-87D4-8DFA9FEA4C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tangle 66">
              <a:extLst>
                <a:ext uri="{FF2B5EF4-FFF2-40B4-BE49-F238E27FC236}">
                  <a16:creationId xmlns:a16="http://schemas.microsoft.com/office/drawing/2014/main" id="{5CD32F69-27AD-4088-877C-E2A40F8B07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233984"/>
            <a:ext cx="493163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F3C958D-8E3B-97D4-859D-CED78FA57F9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146" y="4582859"/>
            <a:ext cx="2034068" cy="201372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743320" y="1506856"/>
            <a:ext cx="8981705" cy="63406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 lnSpcReduction="10000"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úbrica de evaluación: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A3C5A4-AA43-772C-C217-AF244CBB1E59}"/>
              </a:ext>
            </a:extLst>
          </p:cNvPr>
          <p:cNvSpPr txBox="1"/>
          <p:nvPr/>
        </p:nvSpPr>
        <p:spPr>
          <a:xfrm>
            <a:off x="671883" y="2370016"/>
            <a:ext cx="8981705" cy="412127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2600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 calificará en función de los siguientes parámetros: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2600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s-EC" sz="2600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tenido sobre uno de los tipos de dibujo </a:t>
            </a:r>
            <a:r>
              <a:rPr lang="es-EC" sz="2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0%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s-EC" sz="2600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tenido sobre el uso de un instrumento de dibujo </a:t>
            </a:r>
            <a:r>
              <a:rPr lang="es-EC" sz="2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0%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s-EC" sz="2600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reatividad </a:t>
            </a:r>
            <a:r>
              <a:rPr lang="es-EC" sz="2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%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s-EC" sz="2600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entación del video </a:t>
            </a:r>
            <a:r>
              <a:rPr lang="es-EC" sz="2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0%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es-EC" sz="2600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65269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8" name="Rectangle 1032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sp>
        <p:nvSpPr>
          <p:cNvPr id="1060" name="Rectangle 1034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93163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1F49CE81-B2F4-47B2-9D4A-886DCE0A8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65848" y="73152"/>
            <a:ext cx="957911" cy="232963"/>
            <a:chOff x="7763256" y="73152"/>
            <a:chExt cx="1178966" cy="232963"/>
          </a:xfrm>
        </p:grpSpPr>
        <p:sp>
          <p:nvSpPr>
            <p:cNvPr id="1038" name="Rectangle 64">
              <a:extLst>
                <a:ext uri="{FF2B5EF4-FFF2-40B4-BE49-F238E27FC236}">
                  <a16:creationId xmlns:a16="http://schemas.microsoft.com/office/drawing/2014/main" id="{4BE32177-3EAD-42DA-997C-8DAE1BFEE5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tangle 66">
              <a:extLst>
                <a:ext uri="{FF2B5EF4-FFF2-40B4-BE49-F238E27FC236}">
                  <a16:creationId xmlns:a16="http://schemas.microsoft.com/office/drawing/2014/main" id="{A0DEE160-9825-4DB5-8188-911AC13EA7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tangle 64">
              <a:extLst>
                <a:ext uri="{FF2B5EF4-FFF2-40B4-BE49-F238E27FC236}">
                  <a16:creationId xmlns:a16="http://schemas.microsoft.com/office/drawing/2014/main" id="{9C5FEDB5-0AEE-40E4-9CA6-6718B956D9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tangle 66">
              <a:extLst>
                <a:ext uri="{FF2B5EF4-FFF2-40B4-BE49-F238E27FC236}">
                  <a16:creationId xmlns:a16="http://schemas.microsoft.com/office/drawing/2014/main" id="{1A11DF2D-1D4B-45DA-906B-2A1F84C99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tangle 64">
              <a:extLst>
                <a:ext uri="{FF2B5EF4-FFF2-40B4-BE49-F238E27FC236}">
                  <a16:creationId xmlns:a16="http://schemas.microsoft.com/office/drawing/2014/main" id="{B6A5BAC0-9806-4124-A584-7F924A6589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tangle 66">
              <a:extLst>
                <a:ext uri="{FF2B5EF4-FFF2-40B4-BE49-F238E27FC236}">
                  <a16:creationId xmlns:a16="http://schemas.microsoft.com/office/drawing/2014/main" id="{A8F6BFA3-38BE-4F0A-94D9-EF0E6EA01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tangle 64">
              <a:extLst>
                <a:ext uri="{FF2B5EF4-FFF2-40B4-BE49-F238E27FC236}">
                  <a16:creationId xmlns:a16="http://schemas.microsoft.com/office/drawing/2014/main" id="{BE6BCF21-959F-419E-BCA4-B20AF92EF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tangle 66">
              <a:extLst>
                <a:ext uri="{FF2B5EF4-FFF2-40B4-BE49-F238E27FC236}">
                  <a16:creationId xmlns:a16="http://schemas.microsoft.com/office/drawing/2014/main" id="{54B6E037-E222-42EB-9AEB-C45EF2090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tangle 64">
              <a:extLst>
                <a:ext uri="{FF2B5EF4-FFF2-40B4-BE49-F238E27FC236}">
                  <a16:creationId xmlns:a16="http://schemas.microsoft.com/office/drawing/2014/main" id="{A0494426-372E-42B8-87E1-170F1B5969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tangle 66">
              <a:extLst>
                <a:ext uri="{FF2B5EF4-FFF2-40B4-BE49-F238E27FC236}">
                  <a16:creationId xmlns:a16="http://schemas.microsoft.com/office/drawing/2014/main" id="{14DB5AB5-5D73-4375-8CF4-DF4B7A5D7F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tangle 64">
              <a:extLst>
                <a:ext uri="{FF2B5EF4-FFF2-40B4-BE49-F238E27FC236}">
                  <a16:creationId xmlns:a16="http://schemas.microsoft.com/office/drawing/2014/main" id="{009B2A6E-6D36-4A9A-AFAA-CF4D859147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66">
              <a:extLst>
                <a:ext uri="{FF2B5EF4-FFF2-40B4-BE49-F238E27FC236}">
                  <a16:creationId xmlns:a16="http://schemas.microsoft.com/office/drawing/2014/main" id="{85DC0718-B29F-47A6-931F-F0EF9FA99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tangle 64">
              <a:extLst>
                <a:ext uri="{FF2B5EF4-FFF2-40B4-BE49-F238E27FC236}">
                  <a16:creationId xmlns:a16="http://schemas.microsoft.com/office/drawing/2014/main" id="{AAED958D-AFCC-4BEF-818A-EFF7E41D17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tangle 66">
              <a:extLst>
                <a:ext uri="{FF2B5EF4-FFF2-40B4-BE49-F238E27FC236}">
                  <a16:creationId xmlns:a16="http://schemas.microsoft.com/office/drawing/2014/main" id="{C216DD5A-D1AE-429E-937E-456A50345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tangle 64">
              <a:extLst>
                <a:ext uri="{FF2B5EF4-FFF2-40B4-BE49-F238E27FC236}">
                  <a16:creationId xmlns:a16="http://schemas.microsoft.com/office/drawing/2014/main" id="{A845B253-9DEE-45AC-AADA-FAA6812C3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tangle 66">
              <a:extLst>
                <a:ext uri="{FF2B5EF4-FFF2-40B4-BE49-F238E27FC236}">
                  <a16:creationId xmlns:a16="http://schemas.microsoft.com/office/drawing/2014/main" id="{CE7B6CBF-757B-4B55-84CB-062B712D3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tangle 64">
              <a:extLst>
                <a:ext uri="{FF2B5EF4-FFF2-40B4-BE49-F238E27FC236}">
                  <a16:creationId xmlns:a16="http://schemas.microsoft.com/office/drawing/2014/main" id="{2CC28C7A-EF33-43D3-90CD-DCAC92546A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tangle 66">
              <a:extLst>
                <a:ext uri="{FF2B5EF4-FFF2-40B4-BE49-F238E27FC236}">
                  <a16:creationId xmlns:a16="http://schemas.microsoft.com/office/drawing/2014/main" id="{BC0C9DCF-F15B-4B7A-A16B-37B4335E6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tangle 64">
              <a:extLst>
                <a:ext uri="{FF2B5EF4-FFF2-40B4-BE49-F238E27FC236}">
                  <a16:creationId xmlns:a16="http://schemas.microsoft.com/office/drawing/2014/main" id="{94991FD1-406A-4958-87D4-8DFA9FEA4C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tangle 66">
              <a:extLst>
                <a:ext uri="{FF2B5EF4-FFF2-40B4-BE49-F238E27FC236}">
                  <a16:creationId xmlns:a16="http://schemas.microsoft.com/office/drawing/2014/main" id="{5CD32F69-27AD-4088-877C-E2A40F8B07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233984"/>
            <a:ext cx="493163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14919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POS DE DIBUJ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A2528B-BAE3-9B08-26A5-BFF625F034E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698" y="2609772"/>
            <a:ext cx="8451552" cy="4078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71276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8" name="Rectangle 1032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sp>
        <p:nvSpPr>
          <p:cNvPr id="1060" name="Rectangle 1034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93163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1F49CE81-B2F4-47B2-9D4A-886DCE0A8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65848" y="73152"/>
            <a:ext cx="957911" cy="232963"/>
            <a:chOff x="7763256" y="73152"/>
            <a:chExt cx="1178966" cy="232963"/>
          </a:xfrm>
        </p:grpSpPr>
        <p:sp>
          <p:nvSpPr>
            <p:cNvPr id="1038" name="Rectangle 64">
              <a:extLst>
                <a:ext uri="{FF2B5EF4-FFF2-40B4-BE49-F238E27FC236}">
                  <a16:creationId xmlns:a16="http://schemas.microsoft.com/office/drawing/2014/main" id="{4BE32177-3EAD-42DA-997C-8DAE1BFEE5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tangle 66">
              <a:extLst>
                <a:ext uri="{FF2B5EF4-FFF2-40B4-BE49-F238E27FC236}">
                  <a16:creationId xmlns:a16="http://schemas.microsoft.com/office/drawing/2014/main" id="{A0DEE160-9825-4DB5-8188-911AC13EA7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tangle 64">
              <a:extLst>
                <a:ext uri="{FF2B5EF4-FFF2-40B4-BE49-F238E27FC236}">
                  <a16:creationId xmlns:a16="http://schemas.microsoft.com/office/drawing/2014/main" id="{9C5FEDB5-0AEE-40E4-9CA6-6718B956D9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tangle 66">
              <a:extLst>
                <a:ext uri="{FF2B5EF4-FFF2-40B4-BE49-F238E27FC236}">
                  <a16:creationId xmlns:a16="http://schemas.microsoft.com/office/drawing/2014/main" id="{1A11DF2D-1D4B-45DA-906B-2A1F84C99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tangle 64">
              <a:extLst>
                <a:ext uri="{FF2B5EF4-FFF2-40B4-BE49-F238E27FC236}">
                  <a16:creationId xmlns:a16="http://schemas.microsoft.com/office/drawing/2014/main" id="{B6A5BAC0-9806-4124-A584-7F924A6589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tangle 66">
              <a:extLst>
                <a:ext uri="{FF2B5EF4-FFF2-40B4-BE49-F238E27FC236}">
                  <a16:creationId xmlns:a16="http://schemas.microsoft.com/office/drawing/2014/main" id="{A8F6BFA3-38BE-4F0A-94D9-EF0E6EA01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tangle 64">
              <a:extLst>
                <a:ext uri="{FF2B5EF4-FFF2-40B4-BE49-F238E27FC236}">
                  <a16:creationId xmlns:a16="http://schemas.microsoft.com/office/drawing/2014/main" id="{BE6BCF21-959F-419E-BCA4-B20AF92EF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tangle 66">
              <a:extLst>
                <a:ext uri="{FF2B5EF4-FFF2-40B4-BE49-F238E27FC236}">
                  <a16:creationId xmlns:a16="http://schemas.microsoft.com/office/drawing/2014/main" id="{54B6E037-E222-42EB-9AEB-C45EF2090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tangle 64">
              <a:extLst>
                <a:ext uri="{FF2B5EF4-FFF2-40B4-BE49-F238E27FC236}">
                  <a16:creationId xmlns:a16="http://schemas.microsoft.com/office/drawing/2014/main" id="{A0494426-372E-42B8-87E1-170F1B5969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tangle 66">
              <a:extLst>
                <a:ext uri="{FF2B5EF4-FFF2-40B4-BE49-F238E27FC236}">
                  <a16:creationId xmlns:a16="http://schemas.microsoft.com/office/drawing/2014/main" id="{14DB5AB5-5D73-4375-8CF4-DF4B7A5D7F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tangle 64">
              <a:extLst>
                <a:ext uri="{FF2B5EF4-FFF2-40B4-BE49-F238E27FC236}">
                  <a16:creationId xmlns:a16="http://schemas.microsoft.com/office/drawing/2014/main" id="{009B2A6E-6D36-4A9A-AFAA-CF4D859147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66">
              <a:extLst>
                <a:ext uri="{FF2B5EF4-FFF2-40B4-BE49-F238E27FC236}">
                  <a16:creationId xmlns:a16="http://schemas.microsoft.com/office/drawing/2014/main" id="{85DC0718-B29F-47A6-931F-F0EF9FA99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tangle 64">
              <a:extLst>
                <a:ext uri="{FF2B5EF4-FFF2-40B4-BE49-F238E27FC236}">
                  <a16:creationId xmlns:a16="http://schemas.microsoft.com/office/drawing/2014/main" id="{AAED958D-AFCC-4BEF-818A-EFF7E41D17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tangle 66">
              <a:extLst>
                <a:ext uri="{FF2B5EF4-FFF2-40B4-BE49-F238E27FC236}">
                  <a16:creationId xmlns:a16="http://schemas.microsoft.com/office/drawing/2014/main" id="{C216DD5A-D1AE-429E-937E-456A50345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tangle 64">
              <a:extLst>
                <a:ext uri="{FF2B5EF4-FFF2-40B4-BE49-F238E27FC236}">
                  <a16:creationId xmlns:a16="http://schemas.microsoft.com/office/drawing/2014/main" id="{A845B253-9DEE-45AC-AADA-FAA6812C3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tangle 66">
              <a:extLst>
                <a:ext uri="{FF2B5EF4-FFF2-40B4-BE49-F238E27FC236}">
                  <a16:creationId xmlns:a16="http://schemas.microsoft.com/office/drawing/2014/main" id="{CE7B6CBF-757B-4B55-84CB-062B712D3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tangle 64">
              <a:extLst>
                <a:ext uri="{FF2B5EF4-FFF2-40B4-BE49-F238E27FC236}">
                  <a16:creationId xmlns:a16="http://schemas.microsoft.com/office/drawing/2014/main" id="{2CC28C7A-EF33-43D3-90CD-DCAC92546A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tangle 66">
              <a:extLst>
                <a:ext uri="{FF2B5EF4-FFF2-40B4-BE49-F238E27FC236}">
                  <a16:creationId xmlns:a16="http://schemas.microsoft.com/office/drawing/2014/main" id="{BC0C9DCF-F15B-4B7A-A16B-37B4335E6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tangle 64">
              <a:extLst>
                <a:ext uri="{FF2B5EF4-FFF2-40B4-BE49-F238E27FC236}">
                  <a16:creationId xmlns:a16="http://schemas.microsoft.com/office/drawing/2014/main" id="{94991FD1-406A-4958-87D4-8DFA9FEA4C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tangle 66">
              <a:extLst>
                <a:ext uri="{FF2B5EF4-FFF2-40B4-BE49-F238E27FC236}">
                  <a16:creationId xmlns:a16="http://schemas.microsoft.com/office/drawing/2014/main" id="{5CD32F69-27AD-4088-877C-E2A40F8B07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233984"/>
            <a:ext cx="493163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14919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POS DE DIBUJ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92C3C21-8A89-B6B9-D9BC-A953D24BEB5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767" y="2966916"/>
            <a:ext cx="9182100" cy="2102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9236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8" name="Rectangle 1032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sp>
        <p:nvSpPr>
          <p:cNvPr id="1060" name="Rectangle 1034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93163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1F49CE81-B2F4-47B2-9D4A-886DCE0A8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65848" y="73152"/>
            <a:ext cx="957911" cy="232963"/>
            <a:chOff x="7763256" y="73152"/>
            <a:chExt cx="1178966" cy="232963"/>
          </a:xfrm>
        </p:grpSpPr>
        <p:sp>
          <p:nvSpPr>
            <p:cNvPr id="1038" name="Rectangle 64">
              <a:extLst>
                <a:ext uri="{FF2B5EF4-FFF2-40B4-BE49-F238E27FC236}">
                  <a16:creationId xmlns:a16="http://schemas.microsoft.com/office/drawing/2014/main" id="{4BE32177-3EAD-42DA-997C-8DAE1BFEE5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tangle 66">
              <a:extLst>
                <a:ext uri="{FF2B5EF4-FFF2-40B4-BE49-F238E27FC236}">
                  <a16:creationId xmlns:a16="http://schemas.microsoft.com/office/drawing/2014/main" id="{A0DEE160-9825-4DB5-8188-911AC13EA7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tangle 64">
              <a:extLst>
                <a:ext uri="{FF2B5EF4-FFF2-40B4-BE49-F238E27FC236}">
                  <a16:creationId xmlns:a16="http://schemas.microsoft.com/office/drawing/2014/main" id="{9C5FEDB5-0AEE-40E4-9CA6-6718B956D9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tangle 66">
              <a:extLst>
                <a:ext uri="{FF2B5EF4-FFF2-40B4-BE49-F238E27FC236}">
                  <a16:creationId xmlns:a16="http://schemas.microsoft.com/office/drawing/2014/main" id="{1A11DF2D-1D4B-45DA-906B-2A1F84C99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tangle 64">
              <a:extLst>
                <a:ext uri="{FF2B5EF4-FFF2-40B4-BE49-F238E27FC236}">
                  <a16:creationId xmlns:a16="http://schemas.microsoft.com/office/drawing/2014/main" id="{B6A5BAC0-9806-4124-A584-7F924A6589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tangle 66">
              <a:extLst>
                <a:ext uri="{FF2B5EF4-FFF2-40B4-BE49-F238E27FC236}">
                  <a16:creationId xmlns:a16="http://schemas.microsoft.com/office/drawing/2014/main" id="{A8F6BFA3-38BE-4F0A-94D9-EF0E6EA01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tangle 64">
              <a:extLst>
                <a:ext uri="{FF2B5EF4-FFF2-40B4-BE49-F238E27FC236}">
                  <a16:creationId xmlns:a16="http://schemas.microsoft.com/office/drawing/2014/main" id="{BE6BCF21-959F-419E-BCA4-B20AF92EF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tangle 66">
              <a:extLst>
                <a:ext uri="{FF2B5EF4-FFF2-40B4-BE49-F238E27FC236}">
                  <a16:creationId xmlns:a16="http://schemas.microsoft.com/office/drawing/2014/main" id="{54B6E037-E222-42EB-9AEB-C45EF2090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tangle 64">
              <a:extLst>
                <a:ext uri="{FF2B5EF4-FFF2-40B4-BE49-F238E27FC236}">
                  <a16:creationId xmlns:a16="http://schemas.microsoft.com/office/drawing/2014/main" id="{A0494426-372E-42B8-87E1-170F1B5969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tangle 66">
              <a:extLst>
                <a:ext uri="{FF2B5EF4-FFF2-40B4-BE49-F238E27FC236}">
                  <a16:creationId xmlns:a16="http://schemas.microsoft.com/office/drawing/2014/main" id="{14DB5AB5-5D73-4375-8CF4-DF4B7A5D7F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tangle 64">
              <a:extLst>
                <a:ext uri="{FF2B5EF4-FFF2-40B4-BE49-F238E27FC236}">
                  <a16:creationId xmlns:a16="http://schemas.microsoft.com/office/drawing/2014/main" id="{009B2A6E-6D36-4A9A-AFAA-CF4D859147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66">
              <a:extLst>
                <a:ext uri="{FF2B5EF4-FFF2-40B4-BE49-F238E27FC236}">
                  <a16:creationId xmlns:a16="http://schemas.microsoft.com/office/drawing/2014/main" id="{85DC0718-B29F-47A6-931F-F0EF9FA99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tangle 64">
              <a:extLst>
                <a:ext uri="{FF2B5EF4-FFF2-40B4-BE49-F238E27FC236}">
                  <a16:creationId xmlns:a16="http://schemas.microsoft.com/office/drawing/2014/main" id="{AAED958D-AFCC-4BEF-818A-EFF7E41D17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tangle 66">
              <a:extLst>
                <a:ext uri="{FF2B5EF4-FFF2-40B4-BE49-F238E27FC236}">
                  <a16:creationId xmlns:a16="http://schemas.microsoft.com/office/drawing/2014/main" id="{C216DD5A-D1AE-429E-937E-456A50345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tangle 64">
              <a:extLst>
                <a:ext uri="{FF2B5EF4-FFF2-40B4-BE49-F238E27FC236}">
                  <a16:creationId xmlns:a16="http://schemas.microsoft.com/office/drawing/2014/main" id="{A845B253-9DEE-45AC-AADA-FAA6812C3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tangle 66">
              <a:extLst>
                <a:ext uri="{FF2B5EF4-FFF2-40B4-BE49-F238E27FC236}">
                  <a16:creationId xmlns:a16="http://schemas.microsoft.com/office/drawing/2014/main" id="{CE7B6CBF-757B-4B55-84CB-062B712D3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tangle 64">
              <a:extLst>
                <a:ext uri="{FF2B5EF4-FFF2-40B4-BE49-F238E27FC236}">
                  <a16:creationId xmlns:a16="http://schemas.microsoft.com/office/drawing/2014/main" id="{2CC28C7A-EF33-43D3-90CD-DCAC92546A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tangle 66">
              <a:extLst>
                <a:ext uri="{FF2B5EF4-FFF2-40B4-BE49-F238E27FC236}">
                  <a16:creationId xmlns:a16="http://schemas.microsoft.com/office/drawing/2014/main" id="{BC0C9DCF-F15B-4B7A-A16B-37B4335E6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tangle 64">
              <a:extLst>
                <a:ext uri="{FF2B5EF4-FFF2-40B4-BE49-F238E27FC236}">
                  <a16:creationId xmlns:a16="http://schemas.microsoft.com/office/drawing/2014/main" id="{94991FD1-406A-4958-87D4-8DFA9FEA4C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tangle 66">
              <a:extLst>
                <a:ext uri="{FF2B5EF4-FFF2-40B4-BE49-F238E27FC236}">
                  <a16:creationId xmlns:a16="http://schemas.microsoft.com/office/drawing/2014/main" id="{5CD32F69-27AD-4088-877C-E2A40F8B07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233984"/>
            <a:ext cx="493163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F3C958D-8E3B-97D4-859D-CED78FA57F9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163" y="4401614"/>
            <a:ext cx="1767091" cy="174942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14919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POS DE DIBUJ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91013C1-347F-F547-7F50-C31B173894E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313" y="2318252"/>
            <a:ext cx="7410450" cy="4351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0813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8" name="Rectangle 1032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sp>
        <p:nvSpPr>
          <p:cNvPr id="1060" name="Rectangle 1034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93163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1F49CE81-B2F4-47B2-9D4A-886DCE0A8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65848" y="73152"/>
            <a:ext cx="957911" cy="232963"/>
            <a:chOff x="7763256" y="73152"/>
            <a:chExt cx="1178966" cy="232963"/>
          </a:xfrm>
        </p:grpSpPr>
        <p:sp>
          <p:nvSpPr>
            <p:cNvPr id="1038" name="Rectangle 64">
              <a:extLst>
                <a:ext uri="{FF2B5EF4-FFF2-40B4-BE49-F238E27FC236}">
                  <a16:creationId xmlns:a16="http://schemas.microsoft.com/office/drawing/2014/main" id="{4BE32177-3EAD-42DA-997C-8DAE1BFEE5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tangle 66">
              <a:extLst>
                <a:ext uri="{FF2B5EF4-FFF2-40B4-BE49-F238E27FC236}">
                  <a16:creationId xmlns:a16="http://schemas.microsoft.com/office/drawing/2014/main" id="{A0DEE160-9825-4DB5-8188-911AC13EA7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tangle 64">
              <a:extLst>
                <a:ext uri="{FF2B5EF4-FFF2-40B4-BE49-F238E27FC236}">
                  <a16:creationId xmlns:a16="http://schemas.microsoft.com/office/drawing/2014/main" id="{9C5FEDB5-0AEE-40E4-9CA6-6718B956D9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tangle 66">
              <a:extLst>
                <a:ext uri="{FF2B5EF4-FFF2-40B4-BE49-F238E27FC236}">
                  <a16:creationId xmlns:a16="http://schemas.microsoft.com/office/drawing/2014/main" id="{1A11DF2D-1D4B-45DA-906B-2A1F84C99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tangle 64">
              <a:extLst>
                <a:ext uri="{FF2B5EF4-FFF2-40B4-BE49-F238E27FC236}">
                  <a16:creationId xmlns:a16="http://schemas.microsoft.com/office/drawing/2014/main" id="{B6A5BAC0-9806-4124-A584-7F924A6589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tangle 66">
              <a:extLst>
                <a:ext uri="{FF2B5EF4-FFF2-40B4-BE49-F238E27FC236}">
                  <a16:creationId xmlns:a16="http://schemas.microsoft.com/office/drawing/2014/main" id="{A8F6BFA3-38BE-4F0A-94D9-EF0E6EA01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tangle 64">
              <a:extLst>
                <a:ext uri="{FF2B5EF4-FFF2-40B4-BE49-F238E27FC236}">
                  <a16:creationId xmlns:a16="http://schemas.microsoft.com/office/drawing/2014/main" id="{BE6BCF21-959F-419E-BCA4-B20AF92EF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tangle 66">
              <a:extLst>
                <a:ext uri="{FF2B5EF4-FFF2-40B4-BE49-F238E27FC236}">
                  <a16:creationId xmlns:a16="http://schemas.microsoft.com/office/drawing/2014/main" id="{54B6E037-E222-42EB-9AEB-C45EF2090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tangle 64">
              <a:extLst>
                <a:ext uri="{FF2B5EF4-FFF2-40B4-BE49-F238E27FC236}">
                  <a16:creationId xmlns:a16="http://schemas.microsoft.com/office/drawing/2014/main" id="{A0494426-372E-42B8-87E1-170F1B5969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tangle 66">
              <a:extLst>
                <a:ext uri="{FF2B5EF4-FFF2-40B4-BE49-F238E27FC236}">
                  <a16:creationId xmlns:a16="http://schemas.microsoft.com/office/drawing/2014/main" id="{14DB5AB5-5D73-4375-8CF4-DF4B7A5D7F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tangle 64">
              <a:extLst>
                <a:ext uri="{FF2B5EF4-FFF2-40B4-BE49-F238E27FC236}">
                  <a16:creationId xmlns:a16="http://schemas.microsoft.com/office/drawing/2014/main" id="{009B2A6E-6D36-4A9A-AFAA-CF4D859147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66">
              <a:extLst>
                <a:ext uri="{FF2B5EF4-FFF2-40B4-BE49-F238E27FC236}">
                  <a16:creationId xmlns:a16="http://schemas.microsoft.com/office/drawing/2014/main" id="{85DC0718-B29F-47A6-931F-F0EF9FA99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tangle 64">
              <a:extLst>
                <a:ext uri="{FF2B5EF4-FFF2-40B4-BE49-F238E27FC236}">
                  <a16:creationId xmlns:a16="http://schemas.microsoft.com/office/drawing/2014/main" id="{AAED958D-AFCC-4BEF-818A-EFF7E41D17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tangle 66">
              <a:extLst>
                <a:ext uri="{FF2B5EF4-FFF2-40B4-BE49-F238E27FC236}">
                  <a16:creationId xmlns:a16="http://schemas.microsoft.com/office/drawing/2014/main" id="{C216DD5A-D1AE-429E-937E-456A50345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tangle 64">
              <a:extLst>
                <a:ext uri="{FF2B5EF4-FFF2-40B4-BE49-F238E27FC236}">
                  <a16:creationId xmlns:a16="http://schemas.microsoft.com/office/drawing/2014/main" id="{A845B253-9DEE-45AC-AADA-FAA6812C3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tangle 66">
              <a:extLst>
                <a:ext uri="{FF2B5EF4-FFF2-40B4-BE49-F238E27FC236}">
                  <a16:creationId xmlns:a16="http://schemas.microsoft.com/office/drawing/2014/main" id="{CE7B6CBF-757B-4B55-84CB-062B712D3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tangle 64">
              <a:extLst>
                <a:ext uri="{FF2B5EF4-FFF2-40B4-BE49-F238E27FC236}">
                  <a16:creationId xmlns:a16="http://schemas.microsoft.com/office/drawing/2014/main" id="{2CC28C7A-EF33-43D3-90CD-DCAC92546A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tangle 66">
              <a:extLst>
                <a:ext uri="{FF2B5EF4-FFF2-40B4-BE49-F238E27FC236}">
                  <a16:creationId xmlns:a16="http://schemas.microsoft.com/office/drawing/2014/main" id="{BC0C9DCF-F15B-4B7A-A16B-37B4335E6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tangle 64">
              <a:extLst>
                <a:ext uri="{FF2B5EF4-FFF2-40B4-BE49-F238E27FC236}">
                  <a16:creationId xmlns:a16="http://schemas.microsoft.com/office/drawing/2014/main" id="{94991FD1-406A-4958-87D4-8DFA9FEA4C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tangle 66">
              <a:extLst>
                <a:ext uri="{FF2B5EF4-FFF2-40B4-BE49-F238E27FC236}">
                  <a16:creationId xmlns:a16="http://schemas.microsoft.com/office/drawing/2014/main" id="{5CD32F69-27AD-4088-877C-E2A40F8B07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233984"/>
            <a:ext cx="493163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14919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POS DE DIBUJ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15D3E59-3837-85C9-2DAC-87B0EA5F84D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6341" y="2398200"/>
            <a:ext cx="4143972" cy="97369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00E40D9-DD32-165D-3E22-747495E1EA4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7935" y="3147235"/>
            <a:ext cx="8716182" cy="3367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1684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58" name="Rectangle 1032">
            <a:extLst>
              <a:ext uri="{FF2B5EF4-FFF2-40B4-BE49-F238E27FC236}">
                <a16:creationId xmlns:a16="http://schemas.microsoft.com/office/drawing/2014/main" id="{7316481C-0A49-4796-812B-0D64F063B7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sp>
        <p:nvSpPr>
          <p:cNvPr id="1060" name="Rectangle 1034">
            <a:extLst>
              <a:ext uri="{FF2B5EF4-FFF2-40B4-BE49-F238E27FC236}">
                <a16:creationId xmlns:a16="http://schemas.microsoft.com/office/drawing/2014/main" id="{A5271697-90F1-4A23-8EF2-0179F2EAFA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493163" cy="3233984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1F49CE81-B2F4-47B2-9D4A-886DCE0A84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965848" y="73152"/>
            <a:ext cx="957911" cy="232963"/>
            <a:chOff x="7763256" y="73152"/>
            <a:chExt cx="1178966" cy="232963"/>
          </a:xfrm>
        </p:grpSpPr>
        <p:sp>
          <p:nvSpPr>
            <p:cNvPr id="1038" name="Rectangle 64">
              <a:extLst>
                <a:ext uri="{FF2B5EF4-FFF2-40B4-BE49-F238E27FC236}">
                  <a16:creationId xmlns:a16="http://schemas.microsoft.com/office/drawing/2014/main" id="{4BE32177-3EAD-42DA-997C-8DAE1BFEE58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9" name="Rectangle 66">
              <a:extLst>
                <a:ext uri="{FF2B5EF4-FFF2-40B4-BE49-F238E27FC236}">
                  <a16:creationId xmlns:a16="http://schemas.microsoft.com/office/drawing/2014/main" id="{A0DEE160-9825-4DB5-8188-911AC13EA7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26307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0" name="Rectangle 64">
              <a:extLst>
                <a:ext uri="{FF2B5EF4-FFF2-40B4-BE49-F238E27FC236}">
                  <a16:creationId xmlns:a16="http://schemas.microsoft.com/office/drawing/2014/main" id="{9C5FEDB5-0AEE-40E4-9CA6-6718B956D93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1" name="Rectangle 66">
              <a:extLst>
                <a:ext uri="{FF2B5EF4-FFF2-40B4-BE49-F238E27FC236}">
                  <a16:creationId xmlns:a16="http://schemas.microsoft.com/office/drawing/2014/main" id="{1A11DF2D-1D4B-45DA-906B-2A1F84C996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138122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2" name="Rectangle 64">
              <a:extLst>
                <a:ext uri="{FF2B5EF4-FFF2-40B4-BE49-F238E27FC236}">
                  <a16:creationId xmlns:a16="http://schemas.microsoft.com/office/drawing/2014/main" id="{B6A5BAC0-9806-4124-A584-7F924A6589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3" name="Rectangle 66">
              <a:extLst>
                <a:ext uri="{FF2B5EF4-FFF2-40B4-BE49-F238E27FC236}">
                  <a16:creationId xmlns:a16="http://schemas.microsoft.com/office/drawing/2014/main" id="{A8F6BFA3-38BE-4F0A-94D9-EF0E6EA01A0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013167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4" name="Rectangle 64">
              <a:extLst>
                <a:ext uri="{FF2B5EF4-FFF2-40B4-BE49-F238E27FC236}">
                  <a16:creationId xmlns:a16="http://schemas.microsoft.com/office/drawing/2014/main" id="{BE6BCF21-959F-419E-BCA4-B20AF92EF4F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5" name="Rectangle 66">
              <a:extLst>
                <a:ext uri="{FF2B5EF4-FFF2-40B4-BE49-F238E27FC236}">
                  <a16:creationId xmlns:a16="http://schemas.microsoft.com/office/drawing/2014/main" id="{54B6E037-E222-42EB-9AEB-C45EF2090AF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888211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6" name="Rectangle 64">
              <a:extLst>
                <a:ext uri="{FF2B5EF4-FFF2-40B4-BE49-F238E27FC236}">
                  <a16:creationId xmlns:a16="http://schemas.microsoft.com/office/drawing/2014/main" id="{A0494426-372E-42B8-87E1-170F1B5969D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7" name="Rectangle 66">
              <a:extLst>
                <a:ext uri="{FF2B5EF4-FFF2-40B4-BE49-F238E27FC236}">
                  <a16:creationId xmlns:a16="http://schemas.microsoft.com/office/drawing/2014/main" id="{14DB5AB5-5D73-4375-8CF4-DF4B7A5D7F2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7763256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8" name="Rectangle 64">
              <a:extLst>
                <a:ext uri="{FF2B5EF4-FFF2-40B4-BE49-F238E27FC236}">
                  <a16:creationId xmlns:a16="http://schemas.microsoft.com/office/drawing/2014/main" id="{009B2A6E-6D36-4A9A-AFAA-CF4D8591470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49" name="Rectangle 66">
              <a:extLst>
                <a:ext uri="{FF2B5EF4-FFF2-40B4-BE49-F238E27FC236}">
                  <a16:creationId xmlns:a16="http://schemas.microsoft.com/office/drawing/2014/main" id="{85DC0718-B29F-47A6-931F-F0EF9FA995D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88785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0" name="Rectangle 64">
              <a:extLst>
                <a:ext uri="{FF2B5EF4-FFF2-40B4-BE49-F238E27FC236}">
                  <a16:creationId xmlns:a16="http://schemas.microsoft.com/office/drawing/2014/main" id="{AAED958D-AFCC-4BEF-818A-EFF7E41D17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1" name="Rectangle 66">
              <a:extLst>
                <a:ext uri="{FF2B5EF4-FFF2-40B4-BE49-F238E27FC236}">
                  <a16:creationId xmlns:a16="http://schemas.microsoft.com/office/drawing/2014/main" id="{C216DD5A-D1AE-429E-937E-456A50345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762899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2" name="Rectangle 64">
              <a:extLst>
                <a:ext uri="{FF2B5EF4-FFF2-40B4-BE49-F238E27FC236}">
                  <a16:creationId xmlns:a16="http://schemas.microsoft.com/office/drawing/2014/main" id="{A845B253-9DEE-45AC-AADA-FAA6812C39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3" name="Rectangle 66">
              <a:extLst>
                <a:ext uri="{FF2B5EF4-FFF2-40B4-BE49-F238E27FC236}">
                  <a16:creationId xmlns:a16="http://schemas.microsoft.com/office/drawing/2014/main" id="{CE7B6CBF-757B-4B55-84CB-062B712D38E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637944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4" name="Rectangle 64">
              <a:extLst>
                <a:ext uri="{FF2B5EF4-FFF2-40B4-BE49-F238E27FC236}">
                  <a16:creationId xmlns:a16="http://schemas.microsoft.com/office/drawing/2014/main" id="{2CC28C7A-EF33-43D3-90CD-DCAC92546A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5" name="Rectangle 66">
              <a:extLst>
                <a:ext uri="{FF2B5EF4-FFF2-40B4-BE49-F238E27FC236}">
                  <a16:creationId xmlns:a16="http://schemas.microsoft.com/office/drawing/2014/main" id="{BC0C9DCF-F15B-4B7A-A16B-37B4335E6B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512988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6" name="Rectangle 64">
              <a:extLst>
                <a:ext uri="{FF2B5EF4-FFF2-40B4-BE49-F238E27FC236}">
                  <a16:creationId xmlns:a16="http://schemas.microsoft.com/office/drawing/2014/main" id="{94991FD1-406A-4958-87D4-8DFA9FEA4C0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73152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7" name="Rectangle 66">
              <a:extLst>
                <a:ext uri="{FF2B5EF4-FFF2-40B4-BE49-F238E27FC236}">
                  <a16:creationId xmlns:a16="http://schemas.microsoft.com/office/drawing/2014/main" id="{5CD32F69-27AD-4088-877C-E2A40F8B07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8388033" y="246888"/>
              <a:ext cx="54368" cy="5922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9" name="Rectangle 1058">
            <a:extLst>
              <a:ext uri="{FF2B5EF4-FFF2-40B4-BE49-F238E27FC236}">
                <a16:creationId xmlns:a16="http://schemas.microsoft.com/office/drawing/2014/main" id="{D9F5512A-48E1-4C07-B75E-3CCC517B68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233984"/>
            <a:ext cx="493163" cy="36240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F3C958D-8E3B-97D4-859D-CED78FA57F9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5355" y="4377942"/>
            <a:ext cx="1767091" cy="174942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14919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EC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POS DE DIBUJ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60191" y="594258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E11B647-4BE2-C116-6CF5-8774772E743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9585" y="2490679"/>
            <a:ext cx="7982241" cy="4413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076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904F85E3_6AC1_477E_BFA4_B0EC9F39E52E&quot;,&quot;SourceFullName&quot;:&quot;https://www.youtube.com/embed/gCTalQvVmeA?feature=oembed&quot;,&quot;LastUpdate&quot;:&quot;2022-12-14 3:19 PM&quot;,&quot;UpdatedBy&quot;:&quot;jeort&quot;,&quot;IsLinked&quot;:false,&quot;IsBrokenLink&quot;:false,&quot;Type&quot;:2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1DAEE7E6_B05A_4883_B539_41FEEB87EE97&quot;,&quot;SourceFullName&quot;:&quot;https://www.youtube.com/embed/LxNAK7nDa9E?feature=oembed&quot;,&quot;LastUpdate&quot;:&quot;2022-12-14 4:31 PM&quot;,&quot;UpdatedBy&quot;:&quot;jeort&quot;,&quot;IsLinked&quot;:false,&quot;IsBrokenLink&quot;:false,&quot;Type&quot;:2}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75</TotalTime>
  <Words>2019</Words>
  <Application>Microsoft Office PowerPoint</Application>
  <PresentationFormat>A4 Paper (210x297 mm)</PresentationFormat>
  <Paragraphs>263</Paragraphs>
  <Slides>49</Slides>
  <Notes>0</Notes>
  <HiddenSlides>0</HiddenSlides>
  <MMClips>2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54" baseType="lpstr">
      <vt:lpstr>Arial</vt:lpstr>
      <vt:lpstr>Calibri</vt:lpstr>
      <vt:lpstr>Calibri Light</vt:lpstr>
      <vt:lpstr>Helvetica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rge Eduardo</dc:creator>
  <cp:lastModifiedBy>Jorge Eduardo Ortiz Maldonado</cp:lastModifiedBy>
  <cp:revision>65</cp:revision>
  <dcterms:created xsi:type="dcterms:W3CDTF">2022-12-12T14:46:27Z</dcterms:created>
  <dcterms:modified xsi:type="dcterms:W3CDTF">2023-06-27T02:17:32Z</dcterms:modified>
</cp:coreProperties>
</file>